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16"/>
  </p:notesMasterIdLst>
  <p:handoutMasterIdLst>
    <p:handoutMasterId r:id="rId17"/>
  </p:handoutMasterIdLst>
  <p:sldIdLst>
    <p:sldId id="312" r:id="rId3"/>
    <p:sldId id="292" r:id="rId4"/>
    <p:sldId id="293" r:id="rId5"/>
    <p:sldId id="2147482467" r:id="rId6"/>
    <p:sldId id="296" r:id="rId7"/>
    <p:sldId id="297" r:id="rId8"/>
    <p:sldId id="298" r:id="rId9"/>
    <p:sldId id="299" r:id="rId10"/>
    <p:sldId id="300" r:id="rId11"/>
    <p:sldId id="301" r:id="rId12"/>
    <p:sldId id="302" r:id="rId13"/>
    <p:sldId id="303" r:id="rId14"/>
    <p:sldId id="258" r:id="rId1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00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0796" autoAdjust="0"/>
    <p:restoredTop sz="72620" autoAdjust="0"/>
  </p:normalViewPr>
  <p:slideViewPr>
    <p:cSldViewPr snapToGrid="0">
      <p:cViewPr varScale="1">
        <p:scale>
          <a:sx n="69" d="100"/>
          <a:sy n="69" d="100"/>
        </p:scale>
        <p:origin x="2436" y="288"/>
      </p:cViewPr>
      <p:guideLst>
        <p:guide orient="horz" pos="2160"/>
        <p:guide pos="2880"/>
      </p:guideLst>
    </p:cSldViewPr>
  </p:slideViewPr>
  <p:notesTextViewPr>
    <p:cViewPr>
      <p:scale>
        <a:sx n="115" d="100"/>
        <a:sy n="11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llnow Bruce" userId="5245efed-38c8-44ab-b1ba-5b0688758577" providerId="ADAL" clId="{CA82A541-64BB-4897-8CD3-93F2E987BC24}"/>
    <pc:docChg chg="addSld modSld modMainMaster modNotesMaster">
      <pc:chgData name="Sellnow Bruce" userId="5245efed-38c8-44ab-b1ba-5b0688758577" providerId="ADAL" clId="{CA82A541-64BB-4897-8CD3-93F2E987BC24}" dt="2025-01-18T17:29:56.248" v="65" actId="14100"/>
      <pc:docMkLst>
        <pc:docMk/>
      </pc:docMkLst>
      <pc:sldChg chg="addSp delSp modSp mod delDesignElem">
        <pc:chgData name="Sellnow Bruce" userId="5245efed-38c8-44ab-b1ba-5b0688758577" providerId="ADAL" clId="{CA82A541-64BB-4897-8CD3-93F2E987BC24}" dt="2025-01-18T14:36:03.811" v="64"/>
        <pc:sldMkLst>
          <pc:docMk/>
          <pc:sldMk cId="3344869010" sldId="258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344869010" sldId="258"/>
            <ac:spMk id="5" creationId="{07DA1550-D397-FD87-7CCD-3C035D554E1B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344869010" sldId="258"/>
            <ac:spMk id="7" creationId="{BBC214E2-1026-D233-3A14-F76411643829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344869010" sldId="258"/>
            <ac:spMk id="10" creationId="{6056FD45-B58B-46C4-F4F8-73BE618250A0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344869010" sldId="258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344869010" sldId="258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344869010" sldId="258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3344869010" sldId="258"/>
            <ac:picMk id="4" creationId="{6F98AD2B-4933-49A0-6C89-523F46407775}"/>
          </ac:picMkLst>
        </pc:pic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3344869010" sldId="258"/>
            <ac:picMk id="8" creationId="{DF086E88-7151-D16F-E267-C5823BFE0DA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3344869010" sldId="258"/>
            <ac:cxnSpMk id="3" creationId="{59DD0C23-53B5-2810-E54C-EBA223128553}"/>
          </ac:cxnSpMkLst>
        </pc:cxnChg>
      </pc:sldChg>
      <pc:sldChg chg="addSp delSp modSp mod delDesignElem">
        <pc:chgData name="Sellnow Bruce" userId="5245efed-38c8-44ab-b1ba-5b0688758577" providerId="ADAL" clId="{CA82A541-64BB-4897-8CD3-93F2E987BC24}" dt="2025-01-18T14:36:03.811" v="64"/>
        <pc:sldMkLst>
          <pc:docMk/>
          <pc:sldMk cId="3563161854" sldId="292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563161854" sldId="292"/>
            <ac:spMk id="3" creationId="{B64CF9DA-C2A1-5C4E-69D6-44C46594C28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563161854" sldId="292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563161854" sldId="292"/>
            <ac:spMk id="7" creationId="{B87C9D31-7E93-BEC0-4659-25FBEBC88CA5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563161854" sldId="292"/>
            <ac:spMk id="9" creationId="{09B728AB-CE40-3AE1-8DD0-F24CB19D34B8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563161854" sldId="292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563161854" sldId="292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563161854" sldId="292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3563161854" sldId="292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3563161854" sldId="292"/>
            <ac:cxnSpMk id="6" creationId="{CFEDCC15-C2D8-A1FB-BB39-3BAEE9F2F5DC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4:36:03.811" v="64"/>
        <pc:sldMkLst>
          <pc:docMk/>
          <pc:sldMk cId="203290370" sldId="293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203290370" sldId="293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203290370" sldId="293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203290370" sldId="293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203290370" sldId="293"/>
            <ac:spMk id="10" creationId="{2B565D0B-6F98-31BC-3705-AF3A121AD0A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203290370" sldId="293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203290370" sldId="293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203290370" sldId="293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203290370" sldId="293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203290370" sldId="293"/>
            <ac:cxnSpMk id="6" creationId="{1D0FD29B-9867-6358-89F7-739D9894C5DC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4:36:03.811" v="64"/>
        <pc:sldMkLst>
          <pc:docMk/>
          <pc:sldMk cId="1829046842" sldId="296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829046842" sldId="296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829046842" sldId="296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829046842" sldId="296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829046842" sldId="296"/>
            <ac:spMk id="9" creationId="{CBADD3BD-9026-342D-8A7B-2BFA1BCB5279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829046842" sldId="296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829046842" sldId="296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829046842" sldId="296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1829046842" sldId="296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1829046842" sldId="296"/>
            <ac:cxnSpMk id="8" creationId="{DCEC3B04-018D-8C70-4D58-CDA95B168427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4:36:03.811" v="64"/>
        <pc:sldMkLst>
          <pc:docMk/>
          <pc:sldMk cId="510313371" sldId="297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510313371" sldId="297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510313371" sldId="297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510313371" sldId="297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510313371" sldId="297"/>
            <ac:spMk id="9" creationId="{B248FAD7-56DF-526F-2BC6-232600378DF4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510313371" sldId="297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510313371" sldId="297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510313371" sldId="297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510313371" sldId="297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510313371" sldId="297"/>
            <ac:cxnSpMk id="6" creationId="{E96287D1-A9D9-9B61-5BFC-6722118826B8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4:36:03.811" v="64"/>
        <pc:sldMkLst>
          <pc:docMk/>
          <pc:sldMk cId="3770665455" sldId="298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770665455" sldId="298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770665455" sldId="298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770665455" sldId="298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770665455" sldId="298"/>
            <ac:spMk id="7" creationId="{FDBF9A45-1817-C014-2052-6B681751FC6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770665455" sldId="298"/>
            <ac:spMk id="11" creationId="{66216895-3A8B-541E-76EA-670C5353CAB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770665455" sldId="298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770665455" sldId="298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770665455" sldId="298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3770665455" sldId="298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3770665455" sldId="298"/>
            <ac:cxnSpMk id="6" creationId="{E96287D1-A9D9-9B61-5BFC-6722118826B8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4:36:03.811" v="64"/>
        <pc:sldMkLst>
          <pc:docMk/>
          <pc:sldMk cId="3964160521" sldId="299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964160521" sldId="299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964160521" sldId="299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964160521" sldId="299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964160521" sldId="299"/>
            <ac:spMk id="7" creationId="{FDBF9A45-1817-C014-2052-6B681751FC6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3964160521" sldId="299"/>
            <ac:spMk id="11" creationId="{3506ADB3-3615-F3DB-67C6-DFD3CAEB02DB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964160521" sldId="299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964160521" sldId="299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3964160521" sldId="299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3964160521" sldId="299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3964160521" sldId="299"/>
            <ac:cxnSpMk id="6" creationId="{E96287D1-A9D9-9B61-5BFC-6722118826B8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4:36:03.811" v="64"/>
        <pc:sldMkLst>
          <pc:docMk/>
          <pc:sldMk cId="1965562073" sldId="300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965562073" sldId="300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965562073" sldId="300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965562073" sldId="300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965562073" sldId="300"/>
            <ac:spMk id="11" creationId="{B65686D5-62B2-4158-EE29-4FA154DC2C1A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965562073" sldId="300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965562073" sldId="300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965562073" sldId="300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1965562073" sldId="300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1965562073" sldId="300"/>
            <ac:cxnSpMk id="6" creationId="{E96287D1-A9D9-9B61-5BFC-6722118826B8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7:29:56.248" v="65" actId="14100"/>
        <pc:sldMkLst>
          <pc:docMk/>
          <pc:sldMk cId="119143203" sldId="301"/>
        </pc:sldMkLst>
        <pc:spChg chg="mod">
          <ac:chgData name="Sellnow Bruce" userId="5245efed-38c8-44ab-b1ba-5b0688758577" providerId="ADAL" clId="{CA82A541-64BB-4897-8CD3-93F2E987BC24}" dt="2025-01-18T17:29:56.248" v="65" actId="14100"/>
          <ac:spMkLst>
            <pc:docMk/>
            <pc:sldMk cId="119143203" sldId="301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19143203" sldId="301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19143203" sldId="301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19143203" sldId="301"/>
            <ac:spMk id="9" creationId="{942DF7A8-CA80-8AD4-1CB8-0116F60CB052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19143203" sldId="301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19143203" sldId="301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19143203" sldId="301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119143203" sldId="301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119143203" sldId="301"/>
            <ac:cxnSpMk id="6" creationId="{E96287D1-A9D9-9B61-5BFC-6722118826B8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4:36:03.811" v="64"/>
        <pc:sldMkLst>
          <pc:docMk/>
          <pc:sldMk cId="102529861" sldId="302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02529861" sldId="302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02529861" sldId="302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02529861" sldId="302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02529861" sldId="302"/>
            <ac:spMk id="9" creationId="{EE182FE6-38DA-1A6D-FE4B-5752E47A5048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02529861" sldId="302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02529861" sldId="302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102529861" sldId="302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102529861" sldId="302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102529861" sldId="302"/>
            <ac:cxnSpMk id="6" creationId="{E96287D1-A9D9-9B61-5BFC-6722118826B8}"/>
          </ac:cxnSpMkLst>
        </pc:cxnChg>
      </pc:sldChg>
      <pc:sldChg chg="addSp delSp modSp mod delDesignElem modNotes">
        <pc:chgData name="Sellnow Bruce" userId="5245efed-38c8-44ab-b1ba-5b0688758577" providerId="ADAL" clId="{CA82A541-64BB-4897-8CD3-93F2E987BC24}" dt="2025-01-18T14:36:03.811" v="64"/>
        <pc:sldMkLst>
          <pc:docMk/>
          <pc:sldMk cId="4007536608" sldId="303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4007536608" sldId="303"/>
            <ac:spMk id="2" creationId="{DF9BCB67-77C6-72DE-223F-0791A2880BD1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4007536608" sldId="303"/>
            <ac:spMk id="3" creationId="{1767A80C-2933-B734-C78F-C8B7841E385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4007536608" sldId="303"/>
            <ac:spMk id="5" creationId="{6DA937F4-34CE-4615-8755-6E96CF828DEE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4007536608" sldId="303"/>
            <ac:spMk id="9" creationId="{B8C9B474-80A5-CC9E-3BDE-9DFDF4D1B58C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4007536608" sldId="303"/>
            <ac:spMk id="21" creationId="{19D32F93-50AC-4C46-A5DB-291C60DDB7BD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4007536608" sldId="303"/>
            <ac:spMk id="22" creationId="{827DC2C4-B485-428A-BF4A-472D2967F47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4007536608" sldId="303"/>
            <ac:spMk id="23" creationId="{EE04B5EB-F158-4507-90DD-BD23620C7CC9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4007536608" sldId="303"/>
            <ac:picMk id="4" creationId="{6F98AD2B-4933-49A0-6C89-523F46407775}"/>
          </ac:picMkLst>
        </pc:picChg>
        <pc:cxnChg chg="mod">
          <ac:chgData name="Sellnow Bruce" userId="5245efed-38c8-44ab-b1ba-5b0688758577" providerId="ADAL" clId="{CA82A541-64BB-4897-8CD3-93F2E987BC24}" dt="2025-01-18T14:36:03.811" v="64"/>
          <ac:cxnSpMkLst>
            <pc:docMk/>
            <pc:sldMk cId="4007536608" sldId="303"/>
            <ac:cxnSpMk id="6" creationId="{E96287D1-A9D9-9B61-5BFC-6722118826B8}"/>
          </ac:cxnSpMkLst>
        </pc:cxnChg>
      </pc:sldChg>
      <pc:sldChg chg="addSp delSp modSp delDesignElem">
        <pc:chgData name="Sellnow Bruce" userId="5245efed-38c8-44ab-b1ba-5b0688758577" providerId="ADAL" clId="{CA82A541-64BB-4897-8CD3-93F2E987BC24}" dt="2025-01-18T14:36:03.811" v="64"/>
        <pc:sldMkLst>
          <pc:docMk/>
          <pc:sldMk cId="2401320408" sldId="312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2401320408" sldId="312"/>
            <ac:spMk id="2" creationId="{144E53E6-652E-CE9E-8C81-69E023695D50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2401320408" sldId="312"/>
            <ac:spMk id="5" creationId="{17463BAB-D00F-B139-41D5-D5A7113A244C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2401320408" sldId="312"/>
            <ac:spMk id="9" creationId="{E9798FCE-9B8D-ADEC-AE2A-9D9251AE3AE0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2401320408" sldId="312"/>
            <ac:spMk id="21" creationId="{C995310D-B246-C4EB-7B98-F98138F51B61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2401320408" sldId="312"/>
            <ac:spMk id="22" creationId="{D377BC10-284B-CEB1-4353-E839A69DF02F}"/>
          </ac:spMkLst>
        </pc:spChg>
        <pc:spChg chg="add del mod">
          <ac:chgData name="Sellnow Bruce" userId="5245efed-38c8-44ab-b1ba-5b0688758577" providerId="ADAL" clId="{CA82A541-64BB-4897-8CD3-93F2E987BC24}" dt="2025-01-18T14:36:03.811" v="64"/>
          <ac:spMkLst>
            <pc:docMk/>
            <pc:sldMk cId="2401320408" sldId="312"/>
            <ac:spMk id="23" creationId="{DAAB3989-2884-E607-1100-5221034DA21F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2401320408" sldId="312"/>
            <ac:picMk id="4" creationId="{082B390C-8EAF-D8F8-58C2-7BC4A89DA1D4}"/>
          </ac:picMkLst>
        </pc:picChg>
      </pc:sldChg>
      <pc:sldChg chg="modSp add modNotes">
        <pc:chgData name="Sellnow Bruce" userId="5245efed-38c8-44ab-b1ba-5b0688758577" providerId="ADAL" clId="{CA82A541-64BB-4897-8CD3-93F2E987BC24}" dt="2025-01-18T14:36:03.811" v="64"/>
        <pc:sldMkLst>
          <pc:docMk/>
          <pc:sldMk cId="1247434563" sldId="319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247434563" sldId="319"/>
            <ac:spMk id="3" creationId="{82DCA140-F394-A2DE-9E2A-91799537BD2F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1247434563" sldId="319"/>
            <ac:picMk id="2" creationId="{15C9E396-4C21-2037-9CC5-6E97EE21F355}"/>
          </ac:picMkLst>
        </pc:pic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1247434563" sldId="319"/>
            <ac:picMk id="6" creationId="{9058EF17-769E-B732-95F2-3B4FB3B0ECA8}"/>
          </ac:picMkLst>
        </pc:pic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1247434563" sldId="319"/>
            <ac:picMk id="1026" creationId="{066D019E-D0A6-0C77-B646-65CA2872F22F}"/>
          </ac:picMkLst>
        </pc:picChg>
      </pc:sldChg>
      <pc:sldChg chg="modSp mod">
        <pc:chgData name="Sellnow Bruce" userId="5245efed-38c8-44ab-b1ba-5b0688758577" providerId="ADAL" clId="{CA82A541-64BB-4897-8CD3-93F2E987BC24}" dt="2025-01-18T14:36:03.811" v="64"/>
        <pc:sldMkLst>
          <pc:docMk/>
          <pc:sldMk cId="1924968360" sldId="2147482467"/>
        </pc:sld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k cId="1924968360" sldId="2147482467"/>
            <ac:spMk id="2" creationId="{44FFCAD8-C781-5E3E-85A0-F35279D8F13A}"/>
          </ac:spMkLst>
        </pc:spChg>
        <pc:picChg chg="mod">
          <ac:chgData name="Sellnow Bruce" userId="5245efed-38c8-44ab-b1ba-5b0688758577" providerId="ADAL" clId="{CA82A541-64BB-4897-8CD3-93F2E987BC24}" dt="2025-01-18T14:36:03.811" v="64"/>
          <ac:picMkLst>
            <pc:docMk/>
            <pc:sldMk cId="1924968360" sldId="2147482467"/>
            <ac:picMk id="10" creationId="{9EC3DAD5-BF7D-9B01-2AE5-A22F7E460F40}"/>
          </ac:picMkLst>
        </pc:picChg>
      </pc:sldChg>
      <pc:sldMasterChg chg="modSp modSldLayout">
        <pc:chgData name="Sellnow Bruce" userId="5245efed-38c8-44ab-b1ba-5b0688758577" providerId="ADAL" clId="{CA82A541-64BB-4897-8CD3-93F2E987BC24}" dt="2025-01-18T14:36:03.811" v="64"/>
        <pc:sldMasterMkLst>
          <pc:docMk/>
          <pc:sldMasterMk cId="398294328" sldId="2147483672"/>
        </pc:sldMaster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398294328" sldId="2147483672"/>
            <ac:spMk id="2" creationId="{AEC88BFE-3BE8-81C2-D005-046D4239C17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398294328" sldId="2147483672"/>
            <ac:spMk id="3" creationId="{98780147-549B-52BB-D4E4-2A8D1FDF644D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398294328" sldId="2147483672"/>
            <ac:spMk id="4" creationId="{1218A100-9DEA-F59E-C79F-009CF48930D7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398294328" sldId="2147483672"/>
            <ac:spMk id="5" creationId="{FD5A4D37-1309-76A8-E948-1ACC3A24D049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398294328" sldId="2147483672"/>
            <ac:spMk id="6" creationId="{4606F523-71EB-6A71-D660-C0EE5B77AC03}"/>
          </ac:spMkLst>
        </pc:sp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398294328" sldId="2147483672"/>
            <pc:sldLayoutMk cId="4106830739" sldId="2147483673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4106830739" sldId="2147483673"/>
              <ac:spMk id="2" creationId="{CB713724-1D26-CA3D-80F9-5013AB98BF2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4106830739" sldId="2147483673"/>
              <ac:spMk id="3" creationId="{9471A923-0446-F285-710E-3D3AACFF1B8C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398294328" sldId="2147483672"/>
            <pc:sldLayoutMk cId="520493777" sldId="2147483675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520493777" sldId="2147483675"/>
              <ac:spMk id="2" creationId="{67CABB13-8D2C-511C-DABE-9FB40406FE44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520493777" sldId="2147483675"/>
              <ac:spMk id="3" creationId="{BC0A5352-CA55-6611-C06E-D936087AA902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398294328" sldId="2147483672"/>
            <pc:sldLayoutMk cId="2566234784" sldId="2147483676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2566234784" sldId="2147483676"/>
              <ac:spMk id="3" creationId="{EFC53439-2718-B269-6761-47D1DEA285F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2566234784" sldId="2147483676"/>
              <ac:spMk id="4" creationId="{2B21E54A-7D8A-8BFC-02A3-DD7D73B1A0A7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398294328" sldId="2147483672"/>
            <pc:sldLayoutMk cId="2107534641" sldId="2147483677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2107534641" sldId="2147483677"/>
              <ac:spMk id="2" creationId="{1E159200-6A3F-E0BF-BB4D-9B3D4F34D8C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2107534641" sldId="2147483677"/>
              <ac:spMk id="3" creationId="{71F16215-FBDC-ECEA-73F0-E4BFC039E5E9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2107534641" sldId="2147483677"/>
              <ac:spMk id="4" creationId="{77DEF4F3-4FDF-3AE6-F020-14C653A699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2107534641" sldId="2147483677"/>
              <ac:spMk id="5" creationId="{41C0B34E-E3C1-8DF1-21E5-5C628F919FD5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2107534641" sldId="2147483677"/>
              <ac:spMk id="6" creationId="{F1249687-AE3A-E005-9093-89CAC0561836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398294328" sldId="2147483672"/>
            <pc:sldLayoutMk cId="3613255453" sldId="2147483680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3613255453" sldId="2147483680"/>
              <ac:spMk id="2" creationId="{50EE86DE-DE64-3C1F-280F-D7C04A87A066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3613255453" sldId="2147483680"/>
              <ac:spMk id="3" creationId="{7BBCE3B8-8391-4905-E7CC-62E1685F9A19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3613255453" sldId="2147483680"/>
              <ac:spMk id="4" creationId="{018C7D91-9B88-FD86-774E-38FC9DE65BFA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398294328" sldId="2147483672"/>
            <pc:sldLayoutMk cId="687730380" sldId="2147483681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687730380" sldId="2147483681"/>
              <ac:spMk id="2" creationId="{3324E539-F9E9-B909-0599-97594F4486B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687730380" sldId="2147483681"/>
              <ac:spMk id="3" creationId="{3C2B6A4F-B501-29FF-3E04-E6D9BBC002A6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687730380" sldId="2147483681"/>
              <ac:spMk id="4" creationId="{4B94620F-41BA-9C47-D32A-5804B72C3FDA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398294328" sldId="2147483672"/>
            <pc:sldLayoutMk cId="4214449007" sldId="2147483683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4214449007" sldId="2147483683"/>
              <ac:spMk id="2" creationId="{D7540AA9-578D-F89A-854B-755B3AA3C2F4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398294328" sldId="2147483672"/>
              <pc:sldLayoutMk cId="4214449007" sldId="2147483683"/>
              <ac:spMk id="3" creationId="{D78BC358-654F-DE6C-C644-99BC5BC9E889}"/>
            </ac:spMkLst>
          </pc:spChg>
        </pc:sldLayoutChg>
      </pc:sldMasterChg>
      <pc:sldMasterChg chg="modSp modSldLayout">
        <pc:chgData name="Sellnow Bruce" userId="5245efed-38c8-44ab-b1ba-5b0688758577" providerId="ADAL" clId="{CA82A541-64BB-4897-8CD3-93F2E987BC24}" dt="2025-01-18T14:36:03.811" v="64"/>
        <pc:sldMasterMkLst>
          <pc:docMk/>
          <pc:sldMasterMk cId="2731276218" sldId="2147483684"/>
        </pc:sldMasterMkLst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2731276218" sldId="2147483684"/>
            <ac:spMk id="2" creationId="{A66EA084-203F-4328-9093-8ED05ED87A2A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2731276218" sldId="2147483684"/>
            <ac:spMk id="3" creationId="{BA985D98-3239-4503-8D46-06AE345F49FC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2731276218" sldId="2147483684"/>
            <ac:spMk id="6" creationId="{7A0AC045-B0D9-4E25-91F7-9CC620BECAD4}"/>
          </ac:spMkLst>
        </pc:spChg>
        <pc:spChg chg="mod">
          <ac:chgData name="Sellnow Bruce" userId="5245efed-38c8-44ab-b1ba-5b0688758577" providerId="ADAL" clId="{CA82A541-64BB-4897-8CD3-93F2E987BC24}" dt="2025-01-18T14:36:03.811" v="64"/>
          <ac:spMkLst>
            <pc:docMk/>
            <pc:sldMasterMk cId="2731276218" sldId="2147483684"/>
            <ac:spMk id="7" creationId="{5D60C56C-6A14-43BE-BFEF-358E6A64CC62}"/>
          </ac:spMkLst>
        </pc:sp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165909808" sldId="2147483685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165909808" sldId="2147483685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165909808" sldId="2147483685"/>
              <ac:spMk id="3" creationId="{EE034AC8-C001-49F4-B3CA-B1903AA703C4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887932994" sldId="2147483686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887932994" sldId="2147483686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887932994" sldId="2147483686"/>
              <ac:spMk id="3" creationId="{EE034AC8-C001-49F4-B3CA-B1903AA703C4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3887932994" sldId="2147483686"/>
              <ac:picMk id="10" creationId="{C58CB3D4-30D8-4DBB-A3FA-4554ED583701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669964617" sldId="2147483687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669964617" sldId="2147483687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669964617" sldId="2147483687"/>
              <ac:spMk id="3" creationId="{EE034AC8-C001-49F4-B3CA-B1903AA703C4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669964617" sldId="2147483687"/>
              <ac:spMk id="7" creationId="{0E5B4E0A-9AA3-4A98-B729-B7D3A3150C31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2669964617" sldId="2147483687"/>
              <ac:picMk id="11" creationId="{37FC8A42-29F1-429E-AD3F-2C956897317D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989240997" sldId="2147483688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989240997" sldId="2147483688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989240997" sldId="2147483688"/>
              <ac:spMk id="3" creationId="{EE034AC8-C001-49F4-B3CA-B1903AA703C4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989240997" sldId="2147483688"/>
              <ac:spMk id="8" creationId="{BF030D43-5F75-4F09-A115-9C3F3BA5ADF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989240997" sldId="2147483688"/>
              <ac:spMk id="10" creationId="{F6920A3E-2C4E-478B-B0DE-7E4F568C9636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2989240997" sldId="2147483688"/>
              <ac:picMk id="5" creationId="{C008B3CA-55B9-44B7-B746-5CDED560DE1D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866165847" sldId="2147483689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866165847" sldId="2147483689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866165847" sldId="2147483689"/>
              <ac:spMk id="3" creationId="{EE034AC8-C001-49F4-B3CA-B1903AA703C4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866165847" sldId="2147483689"/>
              <ac:spMk id="7" creationId="{0E5B4E0A-9AA3-4A98-B729-B7D3A3150C3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866165847" sldId="2147483689"/>
              <ac:spMk id="10" creationId="{F6920A3E-2C4E-478B-B0DE-7E4F568C9636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1866165847" sldId="2147483689"/>
              <ac:picMk id="5" creationId="{7285C890-039C-4F51-A12E-E9D769E45FB0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553350546" sldId="2147483690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53350546" sldId="2147483690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53350546" sldId="2147483690"/>
              <ac:spMk id="3" creationId="{EE034AC8-C001-49F4-B3CA-B1903AA703C4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53350546" sldId="2147483690"/>
              <ac:spMk id="7" creationId="{0E5B4E0A-9AA3-4A98-B729-B7D3A3150C3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53350546" sldId="2147483690"/>
              <ac:spMk id="10" creationId="{F6920A3E-2C4E-478B-B0DE-7E4F568C9636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553350546" sldId="2147483690"/>
              <ac:picMk id="12" creationId="{C0CFE324-34A0-4915-A0D1-A613F744D477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435786478" sldId="2147483691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435786478" sldId="2147483691"/>
              <ac:spMk id="2" creationId="{F63CEA60-CDC2-4B29-9547-7FF4BAAAD1D1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387941296" sldId="2147483692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387941296" sldId="2147483692"/>
              <ac:spMk id="2" creationId="{F63CEA60-CDC2-4B29-9547-7FF4BAAAD1D1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3387941296" sldId="2147483692"/>
              <ac:picMk id="3" creationId="{BE3D037D-2B92-4D29-836F-DDD1A417FF66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204627230" sldId="2147483693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04627230" sldId="2147483693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04627230" sldId="2147483693"/>
              <ac:spMk id="4" creationId="{63501C58-AC7F-46FD-8388-A2E4E198F896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04627230" sldId="2147483693"/>
              <ac:spMk id="5" creationId="{E75F83C4-11E0-4D6C-9717-55251FAA98CF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3204627230" sldId="2147483693"/>
              <ac:picMk id="6" creationId="{136E96AD-2C38-4E08-8A7D-A524117FDFD9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114228455" sldId="2147483694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114228455" sldId="2147483694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114228455" sldId="2147483694"/>
              <ac:spMk id="4" creationId="{63501C58-AC7F-46FD-8388-A2E4E198F896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114228455" sldId="2147483694"/>
              <ac:spMk id="5" creationId="{E75F83C4-11E0-4D6C-9717-55251FAA98C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114228455" sldId="2147483694"/>
              <ac:spMk id="9" creationId="{3E292F22-31D7-43DA-8D74-8B7552738766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637722778" sldId="2147483695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637722778" sldId="2147483695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637722778" sldId="2147483695"/>
              <ac:spMk id="4" creationId="{63501C58-AC7F-46FD-8388-A2E4E198F896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637722778" sldId="2147483695"/>
              <ac:spMk id="5" creationId="{E75F83C4-11E0-4D6C-9717-55251FAA98C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637722778" sldId="2147483695"/>
              <ac:spMk id="9" creationId="{3E292F22-31D7-43DA-8D74-8B7552738766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006259422" sldId="2147483696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06259422" sldId="2147483696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06259422" sldId="2147483696"/>
              <ac:spMk id="5" creationId="{E75F83C4-11E0-4D6C-9717-55251FAA98C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06259422" sldId="2147483696"/>
              <ac:spMk id="20" creationId="{841F0D19-D2B9-4F58-B736-D0360CDE6EC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06259422" sldId="2147483696"/>
              <ac:spMk id="21" creationId="{EA4F293E-5F4D-421E-BA0E-FF487B0C622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06259422" sldId="2147483696"/>
              <ac:spMk id="22" creationId="{F7C970ED-4F1D-4B79-BA6F-4D048A56ED47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06259422" sldId="2147483696"/>
              <ac:spMk id="23" creationId="{2223C106-9483-494E-B417-C6D469511E0E}"/>
            </ac:spMkLst>
          </pc:spChg>
          <pc:grpChg chg="mod">
            <ac:chgData name="Sellnow Bruce" userId="5245efed-38c8-44ab-b1ba-5b0688758577" providerId="ADAL" clId="{CA82A541-64BB-4897-8CD3-93F2E987BC24}" dt="2025-01-18T14:36:03.811" v="64"/>
            <ac:grpSpMkLst>
              <pc:docMk/>
              <pc:sldMasterMk cId="2731276218" sldId="2147483684"/>
              <pc:sldLayoutMk cId="4006259422" sldId="2147483696"/>
              <ac:grpSpMk id="24" creationId="{17AF177E-62C6-42EE-A2C0-777C1AD04EDC}"/>
            </ac:grpSpMkLst>
          </pc:gr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412553324" sldId="2147483697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412553324" sldId="2147483697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412553324" sldId="2147483697"/>
              <ac:spMk id="3" creationId="{D96E502C-129E-424D-87C8-23B783B1E9A0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041330115" sldId="2147483698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41330115" sldId="2147483698"/>
              <ac:spMk id="2" creationId="{09362896-193A-460B-BF6E-A72AF2FDD20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41330115" sldId="2147483698"/>
              <ac:spMk id="5" creationId="{034F405B-5E7B-47A1-BC60-A16DA5AD9E0D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738100471" sldId="2147483699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738100471" sldId="2147483699"/>
              <ac:spMk id="4" creationId="{B6F5A223-433E-4FAB-9D8A-E7E3D6CF1B4E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598946948" sldId="2147483701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98946948" sldId="2147483701"/>
              <ac:spMk id="5" creationId="{034F405B-5E7B-47A1-BC60-A16DA5AD9E0D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378701327" sldId="2147483702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378701327" sldId="2147483702"/>
              <ac:spMk id="5" creationId="{034F405B-5E7B-47A1-BC60-A16DA5AD9E0D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754873112" sldId="2147483703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754873112" sldId="2147483703"/>
              <ac:spMk id="5" creationId="{034F405B-5E7B-47A1-BC60-A16DA5AD9E0D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754873112" sldId="2147483703"/>
              <ac:spMk id="12" creationId="{8D35A23D-E666-4E0C-9980-F206C8FA51CB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889937309" sldId="2147483704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889937309" sldId="2147483704"/>
              <ac:spMk id="2" creationId="{09362896-193A-460B-BF6E-A72AF2FDD20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889937309" sldId="2147483704"/>
              <ac:spMk id="4" creationId="{74FE7C49-08F2-4F4B-9DC7-9D046A4F12B7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889937309" sldId="2147483704"/>
              <ac:spMk id="5" creationId="{3B97DE0F-8E09-4A9E-B147-4CAA37FBF62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1889937309" sldId="2147483704"/>
              <ac:spMk id="6" creationId="{74C75D69-D919-4F63-92AB-E1B7678E0300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971354092" sldId="2147483705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971354092" sldId="2147483705"/>
              <ac:spMk id="2" creationId="{09362896-193A-460B-BF6E-A72AF2FDD20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971354092" sldId="2147483705"/>
              <ac:spMk id="4" creationId="{74FE7C49-08F2-4F4B-9DC7-9D046A4F12B7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971354092" sldId="2147483705"/>
              <ac:spMk id="7" creationId="{BC9F09F6-C303-4330-83E4-FC5BAC60BB6C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733773358" sldId="2147483707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733773358" sldId="2147483707"/>
              <ac:spMk id="3" creationId="{1404ED11-1EAF-4297-8BB5-17771BD4DFFB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733773358" sldId="2147483707"/>
              <ac:spMk id="4" creationId="{4D107638-A9E9-4334-BA70-4B3D4D4EB23B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02676273" sldId="2147483708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2676273" sldId="2147483708"/>
              <ac:spMk id="3" creationId="{1404ED11-1EAF-4297-8BB5-17771BD4DFFB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02676273" sldId="2147483708"/>
              <ac:spMk id="4" creationId="{4D107638-A9E9-4334-BA70-4B3D4D4EB23B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670362100" sldId="2147483709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670362100" sldId="2147483709"/>
              <ac:spMk id="5" creationId="{50FE6178-DC88-4788-BDB0-7B856173CEDC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136132448" sldId="2147483710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136132448" sldId="2147483710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136132448" sldId="2147483710"/>
              <ac:spMk id="4" creationId="{63501C58-AC7F-46FD-8388-A2E4E198F896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136132448" sldId="2147483710"/>
              <ac:spMk id="5" creationId="{E75F83C4-11E0-4D6C-9717-55251FAA98C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136132448" sldId="2147483710"/>
              <ac:spMk id="7" creationId="{94414CCD-68CA-4052-8276-22F4D39C055E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754623868" sldId="2147483711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754623868" sldId="2147483711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754623868" sldId="2147483711"/>
              <ac:spMk id="6" creationId="{DD957228-7E17-4F86-AA92-1691BF65539E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219189290" sldId="2147483712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219189290" sldId="2147483712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219189290" sldId="2147483712"/>
              <ac:spMk id="7" creationId="{0B2D9B87-6A8D-4859-925B-5494D8AC40DF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291752944" sldId="2147483714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5" creationId="{3AF01502-766D-4FD3-83B3-C3E989F234B3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6" creationId="{DD957228-7E17-4F86-AA92-1691BF65539E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7" creationId="{6CFB9CD3-4D23-4FBF-935D-DE38A973675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8" creationId="{E8DE0167-0B73-4177-8A6A-CAF969065B9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9" creationId="{1B301C60-01B3-4286-BB15-50546FB0D97A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10" creationId="{ED83A722-9643-45ED-9575-43427A35AF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11" creationId="{09D99A6E-6DC8-4957-95E5-F027C381B4B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12" creationId="{42575524-686F-4AC3-9FB3-46540407BBDC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13" creationId="{29AD3DF0-D818-4B10-8B0D-81E4B467D627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291752944" sldId="2147483714"/>
              <ac:spMk id="14" creationId="{DDB78F27-A8F5-4AC2-B9E1-72DEC377AFD7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276981497" sldId="2147483715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76981497" sldId="2147483715"/>
              <ac:spMk id="5" creationId="{3AF01502-766D-4FD3-83B3-C3E989F234B3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76981497" sldId="2147483715"/>
              <ac:spMk id="6" creationId="{DD957228-7E17-4F86-AA92-1691BF65539E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76981497" sldId="2147483715"/>
              <ac:spMk id="7" creationId="{6CFB9CD3-4D23-4FBF-935D-DE38A973675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76981497" sldId="2147483715"/>
              <ac:spMk id="10" creationId="{ED83A722-9643-45ED-9575-43427A35AF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76981497" sldId="2147483715"/>
              <ac:spMk id="11" creationId="{09D99A6E-6DC8-4957-95E5-F027C381B4B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76981497" sldId="2147483715"/>
              <ac:spMk id="12" creationId="{42575524-686F-4AC3-9FB3-46540407BBDC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977154377" sldId="2147483716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977154377" sldId="2147483716"/>
              <ac:spMk id="6" creationId="{DD957228-7E17-4F86-AA92-1691BF65539E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784718531" sldId="2147483717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784718531" sldId="2147483717"/>
              <ac:spMk id="2" creationId="{432FAF2E-865B-8144-BE35-713D54848982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784718531" sldId="2147483717"/>
              <ac:spMk id="8" creationId="{DB7569CE-CCCE-49E0-A326-5FB24671C246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596693619" sldId="2147483718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596693619" sldId="2147483718"/>
              <ac:spMk id="2" creationId="{432FAF2E-865B-8144-BE35-713D54848982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596693619" sldId="2147483718"/>
              <ac:spMk id="6" creationId="{C3921F8B-7D89-4D3C-A0B7-A4A5676B0457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296528199" sldId="2147483719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96528199" sldId="2147483719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296528199" sldId="2147483719"/>
              <ac:spMk id="3" creationId="{EE034AC8-C001-49F4-B3CA-B1903AA703C4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692172920" sldId="2147483724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692172920" sldId="2147483724"/>
              <ac:spMk id="5" creationId="{FCC3A0E6-E630-4C26-B008-93BA0B5B1109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692172920" sldId="2147483724"/>
              <ac:spMk id="8" creationId="{9238B1D6-2095-4826-AA45-9A4E6F7D1A16}"/>
            </ac:spMkLst>
          </pc:spChg>
          <pc:graphicFrameChg chg="mod">
            <ac:chgData name="Sellnow Bruce" userId="5245efed-38c8-44ab-b1ba-5b0688758577" providerId="ADAL" clId="{CA82A541-64BB-4897-8CD3-93F2E987BC24}" dt="2025-01-18T14:36:03.811" v="64"/>
            <ac:graphicFrameMkLst>
              <pc:docMk/>
              <pc:sldMasterMk cId="2731276218" sldId="2147483684"/>
              <pc:sldLayoutMk cId="3692172920" sldId="2147483724"/>
              <ac:graphicFrameMk id="3" creationId="{D8EFF8A2-0FB9-4B25-8B8D-492353274983}"/>
            </ac:graphicFrameMkLst>
          </pc:graphicFrame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645595328" sldId="2147483727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645595328" sldId="2147483727"/>
              <ac:spMk id="6" creationId="{55FEC013-04D6-5F48-AEB6-E87E1F38A1CE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645595328" sldId="2147483727"/>
              <ac:spMk id="7" creationId="{A8CDBDBE-CCD7-44B3-831B-04900F3CC169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3645595328" sldId="2147483727"/>
              <ac:spMk id="8" creationId="{28E4A7D3-ABBB-C44A-8721-F783448EE1C4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978571235" sldId="2147483729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978571235" sldId="2147483729"/>
              <ac:spMk id="3" creationId="{A42C494B-DF44-460D-96AA-D8FE036ED6F7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115270748" sldId="2147483730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115270748" sldId="2147483730"/>
              <ac:spMk id="2" creationId="{09362896-193A-460B-BF6E-A72AF2FDD20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4115270748" sldId="2147483730"/>
              <ac:spMk id="6" creationId="{9F6F5170-03E0-4F11-AD88-551021EC7DEF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4115270748" sldId="2147483730"/>
              <ac:picMk id="5" creationId="{ABDF2A30-DAEF-4E68-9D46-A16C728E722A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095204832" sldId="2147483731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95204832" sldId="2147483731"/>
              <ac:spMk id="2" creationId="{09362896-193A-460B-BF6E-A72AF2FDD208}"/>
            </ac:spMkLst>
          </pc:sp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01562902" sldId="2147483732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" creationId="{BF363402-425A-4944-8104-1937C489ECDC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4" creationId="{522A316C-52CF-4124-82E7-165BEA62887C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18" creationId="{B08A7533-4200-3D40-BCCB-44AC4CCA798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19" creationId="{89544353-B932-614D-899B-3C788993FD46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1" creationId="{82B514E5-CD0C-2A49-982A-E046D24B65B8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2" creationId="{336A4982-EB0A-C341-82CA-37C22D34AED3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3" creationId="{28F93066-CEB1-A345-A74D-395FEDC1985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4" creationId="{C9437BA6-5A35-9245-B478-1D227B78BD2D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6" creationId="{1C191987-0849-A14D-A5F7-451036D46836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7" creationId="{1E0971A9-9775-2044-B76E-E9B46328213F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8" creationId="{98759087-5190-4845-9C45-B92AFB38FDCE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201562902" sldId="2147483732"/>
              <ac:spMk id="29" creationId="{ACA44030-ED62-334D-AEA3-904319524E56}"/>
            </ac:spMkLst>
          </pc:spChg>
          <pc:grpChg chg="mod">
            <ac:chgData name="Sellnow Bruce" userId="5245efed-38c8-44ab-b1ba-5b0688758577" providerId="ADAL" clId="{CA82A541-64BB-4897-8CD3-93F2E987BC24}" dt="2025-01-18T14:36:03.811" v="64"/>
            <ac:grpSpMkLst>
              <pc:docMk/>
              <pc:sldMasterMk cId="2731276218" sldId="2147483684"/>
              <pc:sldLayoutMk cId="201562902" sldId="2147483732"/>
              <ac:grpSpMk id="3" creationId="{CC3FCE5A-7B6C-2343-8D77-CD5F92C91B50}"/>
            </ac:grpSpMkLst>
          </pc:gr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201562902" sldId="2147483732"/>
              <ac:picMk id="12" creationId="{DF695A50-2A30-FA4A-82A4-5E479CE0F073}"/>
            </ac:picMkLst>
          </pc:pic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201562902" sldId="2147483732"/>
              <ac:picMk id="13" creationId="{C51DA453-A696-CC4F-877A-B3F0C7AF337B}"/>
            </ac:picMkLst>
          </pc:pic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201562902" sldId="2147483732"/>
              <ac:picMk id="14" creationId="{4C9E88B2-5710-5A43-95A9-1EBCDCAB6E3B}"/>
            </ac:picMkLst>
          </pc:pic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201562902" sldId="2147483732"/>
              <ac:picMk id="17" creationId="{8FCA52E5-1743-AB4A-8832-14DC8F14E144}"/>
            </ac:picMkLst>
          </pc:pic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585001322" sldId="2147483734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5" creationId="{00000000-0000-0000-0000-00000000000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7" creationId="{00000000-0000-0000-0000-00000000000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8" creationId="{0ADE8B39-F43E-42EE-87EF-B06A8D8CE5A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9" creationId="{00000000-0000-0000-0000-00000000000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11" creationId="{00000000-0000-0000-0000-00000000000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24" creationId="{B731BD5B-F406-46EA-AAC6-D06E52ED93CA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30" creationId="{00000000-0000-0000-0000-00000000000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31" creationId="{00000000-0000-0000-0000-000000000000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585001322" sldId="2147483734"/>
              <ac:spMk id="32" creationId="{00000000-0000-0000-0000-000000000000}"/>
            </ac:spMkLst>
          </pc:spChg>
          <pc:cxnChg chg="mod">
            <ac:chgData name="Sellnow Bruce" userId="5245efed-38c8-44ab-b1ba-5b0688758577" providerId="ADAL" clId="{CA82A541-64BB-4897-8CD3-93F2E987BC24}" dt="2025-01-18T14:36:03.811" v="64"/>
            <ac:cxnSpMkLst>
              <pc:docMk/>
              <pc:sldMasterMk cId="2731276218" sldId="2147483684"/>
              <pc:sldLayoutMk cId="585001322" sldId="2147483734"/>
              <ac:cxnSpMk id="29" creationId="{6F2E3DDC-4E72-4A65-A0FF-970D9FED665C}"/>
            </ac:cxnSpMkLst>
          </pc:cxnChg>
        </pc:sldLayoutChg>
        <pc:sldLayoutChg chg="modSp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609080955" sldId="2147483735"/>
          </pc:sldLayoutMkLst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609080955" sldId="2147483735"/>
              <ac:spMk id="2" creationId="{F63CEA60-CDC2-4B29-9547-7FF4BAAAD1D1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609080955" sldId="2147483735"/>
              <ac:spMk id="3" creationId="{EE034AC8-C001-49F4-B3CA-B1903AA703C4}"/>
            </ac:spMkLst>
          </pc:spChg>
          <pc:spChg chg="mod">
            <ac:chgData name="Sellnow Bruce" userId="5245efed-38c8-44ab-b1ba-5b0688758577" providerId="ADAL" clId="{CA82A541-64BB-4897-8CD3-93F2E987BC24}" dt="2025-01-18T14:36:03.811" v="64"/>
            <ac:spMkLst>
              <pc:docMk/>
              <pc:sldMasterMk cId="2731276218" sldId="2147483684"/>
              <pc:sldLayoutMk cId="609080955" sldId="2147483735"/>
              <ac:spMk id="7" creationId="{4D4F4101-10C5-4019-90A9-11F504117E2C}"/>
            </ac:spMkLst>
          </pc:spChg>
          <pc:picChg chg="mod">
            <ac:chgData name="Sellnow Bruce" userId="5245efed-38c8-44ab-b1ba-5b0688758577" providerId="ADAL" clId="{CA82A541-64BB-4897-8CD3-93F2E987BC24}" dt="2025-01-18T14:36:03.811" v="64"/>
            <ac:picMkLst>
              <pc:docMk/>
              <pc:sldMasterMk cId="2731276218" sldId="2147483684"/>
              <pc:sldLayoutMk cId="609080955" sldId="2147483735"/>
              <ac:picMk id="8" creationId="{667B3453-D9F6-43AF-B722-4CCF6B26FB31}"/>
            </ac:picMkLst>
          </pc:picChg>
        </pc:sldLayoutChg>
      </pc:sldMasterChg>
      <pc:sldMasterChg chg="modSldLayout">
        <pc:chgData name="Sellnow Bruce" userId="5245efed-38c8-44ab-b1ba-5b0688758577" providerId="ADAL" clId="{CA82A541-64BB-4897-8CD3-93F2E987BC24}" dt="2025-01-18T14:36:03.811" v="64"/>
        <pc:sldMasterMkLst>
          <pc:docMk/>
          <pc:sldMasterMk cId="3629010169" sldId="2147483736"/>
        </pc:sldMasterMkLst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435786478" sldId="2147483691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387941296" sldId="2147483692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204627230" sldId="2147483693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114228455" sldId="2147483694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637722778" sldId="2147483695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006259422" sldId="2147483696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412553324" sldId="2147483697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041330115" sldId="2147483698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738100471" sldId="2147483699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987610945" sldId="2147483700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598946948" sldId="2147483701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378701327" sldId="2147483702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754873112" sldId="2147483703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889937309" sldId="2147483704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971354092" sldId="2147483705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1047148064" sldId="2147483706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733773358" sldId="2147483707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02676273" sldId="2147483708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670362100" sldId="2147483709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136132448" sldId="2147483710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754623868" sldId="2147483711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219189290" sldId="2147483712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4291752944" sldId="2147483714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276981497" sldId="2147483715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977154377" sldId="2147483716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784718531" sldId="2147483717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596693619" sldId="2147483718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296528199" sldId="2147483719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536506255" sldId="2147483720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3692172920" sldId="2147483724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414066447" sldId="2147483725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716095292" sldId="2147483726"/>
          </pc:sldLayoutMkLst>
        </pc:sldLayoutChg>
        <pc:sldLayoutChg chg="modTransition">
          <pc:chgData name="Sellnow Bruce" userId="5245efed-38c8-44ab-b1ba-5b0688758577" providerId="ADAL" clId="{CA82A541-64BB-4897-8CD3-93F2E987BC24}" dt="2025-01-18T14:36:03.811" v="64"/>
          <pc:sldLayoutMkLst>
            <pc:docMk/>
            <pc:sldMasterMk cId="2731276218" sldId="2147483684"/>
            <pc:sldLayoutMk cId="201562902" sldId="2147483732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A92958D-1869-4C2D-A697-F36387DE76D1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F058027-927A-47C8-BB38-CFAD047EAC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0007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2DD7EAB-3DF5-4365-8252-797D3B2FCE4C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3773E46-4B79-4B65-AAA8-8FFFE7ECEF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0487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nse of belonging. Sense of responsibility and purpos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f you can’t answer these questions, consider a discovery meeting nigh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871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hat you might discover are a LOT of things about why members come… 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7608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assume you’ve got 25 active singers in your chorus, and you meet every Tuesday evening from 7pm to 9:30pm. So you’ve got 150 minutes to divvy up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422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3337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f you can’t answer these questions, consider a discovery meeting nigh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ngaging Members creates the “need to be there” mindse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2483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406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694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9536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773E46-4B79-4B65-AAA8-8FFFE7ECEF8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857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2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6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8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0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0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0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4.sv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4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13724-1D26-CA3D-80F9-5013AB98BF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1A923-0446-F285-710E-3D3AACFF1B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9D7570-C673-C61D-747C-CF76A866D2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B2F8D2-4FEF-6606-36C6-863E9AA08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45663E-B474-714E-D911-38E4C81F6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8307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238DD8-7EAC-639A-5D44-A584FC95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9AF65B-8C6A-840A-72EC-80526D44AA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6AF7DA-CCEC-E905-D330-07E2C439F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1BCDA-0277-5ABA-4883-7CD48DA42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51F1D1-032D-3FE9-AA58-FE3ABEF32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5994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7540AA9-578D-F89A-854B-755B3AA3C2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78BC358-654F-DE6C-C644-99BC5BC9E8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478C75-75E5-089B-494C-6E17175B2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426B32-2875-9A96-405C-38F2F5C96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EF6110-DE6B-AC66-DED6-52DB7E489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4490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460" y="5257800"/>
            <a:ext cx="432054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Date</a:t>
            </a:r>
          </a:p>
          <a:p>
            <a:r>
              <a:rPr lang="en-US"/>
              <a:t>Presentation 1</a:t>
            </a:r>
          </a:p>
          <a:p>
            <a:r>
              <a:rPr lang="en-US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460" y="1600200"/>
            <a:ext cx="432054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50"/>
            </a:lvl1pPr>
          </a:lstStyle>
          <a:p>
            <a:r>
              <a:rPr lang="en-US"/>
              <a:t>Presentation 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59098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rch">
            <a:extLst>
              <a:ext uri="{FF2B5EF4-FFF2-40B4-BE49-F238E27FC236}">
                <a16:creationId xmlns:a16="http://schemas.microsoft.com/office/drawing/2014/main" id="{C58CB3D4-30D8-4DBB-A3FA-4554ED583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" t="-2" r="34319" b="11162"/>
          <a:stretch/>
        </p:blipFill>
        <p:spPr>
          <a:xfrm>
            <a:off x="4572000" y="274320"/>
            <a:ext cx="4572000" cy="6583680"/>
          </a:xfrm>
          <a:prstGeom prst="rect">
            <a:avLst/>
          </a:prstGeom>
        </p:spPr>
      </p:pic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460" y="5257800"/>
            <a:ext cx="432054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Date</a:t>
            </a:r>
          </a:p>
          <a:p>
            <a:r>
              <a:rPr lang="en-US"/>
              <a:t>Presentation 1</a:t>
            </a:r>
          </a:p>
          <a:p>
            <a:r>
              <a:rPr lang="en-US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460" y="1600200"/>
            <a:ext cx="432054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50"/>
            </a:lvl1pPr>
          </a:lstStyle>
          <a:p>
            <a:r>
              <a:rPr lang="en-US"/>
              <a:t>Presentation 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793299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F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Fries">
            <a:extLst>
              <a:ext uri="{FF2B5EF4-FFF2-40B4-BE49-F238E27FC236}">
                <a16:creationId xmlns:a16="http://schemas.microsoft.com/office/drawing/2014/main" id="{37FC8A42-29F1-429E-AD3F-2C95689731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1522" b="29500"/>
          <a:stretch/>
        </p:blipFill>
        <p:spPr>
          <a:xfrm>
            <a:off x="5977891" y="411480"/>
            <a:ext cx="3166110" cy="6446520"/>
          </a:xfrm>
          <a:prstGeom prst="rect">
            <a:avLst/>
          </a:prstGeom>
        </p:spPr>
      </p:pic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285751" y="320040"/>
            <a:ext cx="548612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80000"/>
              </a:lnSpc>
              <a:spcBef>
                <a:spcPts val="0"/>
              </a:spcBef>
            </a:pPr>
            <a:endParaRPr lang="en-US" sz="135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460" y="5257800"/>
            <a:ext cx="562356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Date</a:t>
            </a:r>
          </a:p>
          <a:p>
            <a:r>
              <a:rPr lang="en-US"/>
              <a:t>Presentation 1</a:t>
            </a:r>
          </a:p>
          <a:p>
            <a:r>
              <a:rPr lang="en-US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460" y="1600200"/>
            <a:ext cx="562356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50"/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996461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Big Ma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5029200"/>
            <a:ext cx="9141714" cy="1828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</a:pPr>
            <a:endParaRPr lang="en-US" sz="1350" err="1">
              <a:solidFill>
                <a:schemeClr val="tx1"/>
              </a:solidFill>
            </a:endParaRPr>
          </a:p>
        </p:txBody>
      </p:sp>
      <p:pic>
        <p:nvPicPr>
          <p:cNvPr id="5" name="Big Mac">
            <a:extLst>
              <a:ext uri="{FF2B5EF4-FFF2-40B4-BE49-F238E27FC236}">
                <a16:creationId xmlns:a16="http://schemas.microsoft.com/office/drawing/2014/main" id="{C008B3CA-55B9-44B7-B746-5CDED560DE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6819" r="55277" b="7954"/>
          <a:stretch/>
        </p:blipFill>
        <p:spPr>
          <a:xfrm>
            <a:off x="6012180" y="0"/>
            <a:ext cx="3131820" cy="6858000"/>
          </a:xfrm>
          <a:prstGeom prst="rect">
            <a:avLst/>
          </a:prstGeom>
        </p:spPr>
      </p:pic>
      <p:sp>
        <p:nvSpPr>
          <p:cNvPr id="8" name="Arch">
            <a:extLst>
              <a:ext uri="{FF2B5EF4-FFF2-40B4-BE49-F238E27FC236}">
                <a16:creationId xmlns:a16="http://schemas.microsoft.com/office/drawing/2014/main" id="{BF030D43-5F75-4F09-A115-9C3F3BA5ADF0}"/>
              </a:ext>
            </a:extLst>
          </p:cNvPr>
          <p:cNvSpPr>
            <a:spLocks noChangeAspect="1"/>
          </p:cNvSpPr>
          <p:nvPr userDrawn="1"/>
        </p:nvSpPr>
        <p:spPr>
          <a:xfrm>
            <a:off x="285751" y="320040"/>
            <a:ext cx="548612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460" y="5257800"/>
            <a:ext cx="562356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Date</a:t>
            </a:r>
          </a:p>
          <a:p>
            <a:r>
              <a:rPr lang="en-US"/>
              <a:t>Presentation 1</a:t>
            </a:r>
          </a:p>
          <a:p>
            <a:r>
              <a:rPr lang="en-US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460" y="1600200"/>
            <a:ext cx="562356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50"/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924099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hee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8309611" y="5623560"/>
            <a:ext cx="548612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pic>
        <p:nvPicPr>
          <p:cNvPr id="5" name="cheese drip">
            <a:extLst>
              <a:ext uri="{FF2B5EF4-FFF2-40B4-BE49-F238E27FC236}">
                <a16:creationId xmlns:a16="http://schemas.microsoft.com/office/drawing/2014/main" id="{7285C890-039C-4F51-A12E-E9D769E45F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78894" y="5029200"/>
            <a:ext cx="1655379" cy="365760"/>
          </a:xfrm>
          <a:prstGeom prst="rect">
            <a:avLst/>
          </a:prstGeom>
        </p:spPr>
      </p:pic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0"/>
            <a:ext cx="9141714" cy="502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</a:pPr>
            <a:endParaRPr lang="en-US" sz="1350" err="1">
              <a:solidFill>
                <a:schemeClr val="tx1"/>
              </a:solidFill>
            </a:endParaRP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460" y="5257800"/>
            <a:ext cx="864108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Date</a:t>
            </a:r>
          </a:p>
          <a:p>
            <a:r>
              <a:rPr lang="en-US"/>
              <a:t>Presentation 1</a:t>
            </a:r>
          </a:p>
          <a:p>
            <a:r>
              <a:rPr lang="en-US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460" y="1600200"/>
            <a:ext cx="864108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50"/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616584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es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ld Bar">
            <a:extLst>
              <a:ext uri="{FF2B5EF4-FFF2-40B4-BE49-F238E27FC236}">
                <a16:creationId xmlns:a16="http://schemas.microsoft.com/office/drawing/2014/main" id="{F6920A3E-2C4E-478B-B0DE-7E4F568C9636}"/>
              </a:ext>
            </a:extLst>
          </p:cNvPr>
          <p:cNvSpPr/>
          <p:nvPr userDrawn="1"/>
        </p:nvSpPr>
        <p:spPr>
          <a:xfrm>
            <a:off x="0" y="0"/>
            <a:ext cx="9141714" cy="502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</a:pPr>
            <a:endParaRPr lang="en-US" sz="1350" err="1">
              <a:solidFill>
                <a:schemeClr val="tx1"/>
              </a:solidFill>
            </a:endParaRPr>
          </a:p>
        </p:txBody>
      </p:sp>
      <p:pic>
        <p:nvPicPr>
          <p:cNvPr id="12" name="Seeds White">
            <a:extLst>
              <a:ext uri="{FF2B5EF4-FFF2-40B4-BE49-F238E27FC236}">
                <a16:creationId xmlns:a16="http://schemas.microsoft.com/office/drawing/2014/main" id="{C0CFE324-34A0-4915-A0D1-A613F744D4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51506" r="13144" b="-179"/>
          <a:stretch/>
        </p:blipFill>
        <p:spPr>
          <a:xfrm>
            <a:off x="0" y="-1"/>
            <a:ext cx="9144000" cy="5029200"/>
          </a:xfrm>
          <a:prstGeom prst="rect">
            <a:avLst/>
          </a:prstGeom>
        </p:spPr>
      </p:pic>
      <p:sp>
        <p:nvSpPr>
          <p:cNvPr id="7" name="Arch">
            <a:extLst>
              <a:ext uri="{FF2B5EF4-FFF2-40B4-BE49-F238E27FC236}">
                <a16:creationId xmlns:a16="http://schemas.microsoft.com/office/drawing/2014/main" id="{0E5B4E0A-9AA3-4A98-B729-B7D3A3150C31}"/>
              </a:ext>
            </a:extLst>
          </p:cNvPr>
          <p:cNvSpPr>
            <a:spLocks noChangeAspect="1"/>
          </p:cNvSpPr>
          <p:nvPr/>
        </p:nvSpPr>
        <p:spPr>
          <a:xfrm>
            <a:off x="8309611" y="5623560"/>
            <a:ext cx="548612" cy="64008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460" y="5257800"/>
            <a:ext cx="8641080" cy="1371600"/>
          </a:xfrm>
        </p:spPr>
        <p:txBody>
          <a:bodyPr lIns="18288" tIns="0" rIns="0" bIns="0" anchor="ctr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Date</a:t>
            </a:r>
          </a:p>
          <a:p>
            <a:r>
              <a:rPr lang="en-US"/>
              <a:t>Presentation 1</a:t>
            </a:r>
          </a:p>
          <a:p>
            <a:r>
              <a:rPr lang="en-US"/>
              <a:t>First Last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460" y="1600200"/>
            <a:ext cx="8641080" cy="3657600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50"/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33505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3" y="228600"/>
            <a:ext cx="8641556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57864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eeds White">
            <a:extLst>
              <a:ext uri="{FF2B5EF4-FFF2-40B4-BE49-F238E27FC236}">
                <a16:creationId xmlns:a16="http://schemas.microsoft.com/office/drawing/2014/main" id="{BE3D037D-2B92-4D29-836F-DDD1A417FF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39374" r="13144" b="6"/>
          <a:stretch/>
        </p:blipFill>
        <p:spPr>
          <a:xfrm>
            <a:off x="0" y="-2"/>
            <a:ext cx="9144000" cy="626364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3" y="228600"/>
            <a:ext cx="8641556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79412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1A367-596B-B29B-711C-4D4192F86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3450A8-8D99-82FA-A39E-C6CCE9E58F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DA9100-0DEE-81A5-1D4E-6CC1028B59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438FBB-FDFF-31E1-9203-A04D5D596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D7400D-318E-5918-47B3-EEC705B40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0372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</a:pPr>
            <a:endParaRPr lang="en-US" sz="135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  <p:pic>
        <p:nvPicPr>
          <p:cNvPr id="6" name="Seeds White">
            <a:extLst>
              <a:ext uri="{FF2B5EF4-FFF2-40B4-BE49-F238E27FC236}">
                <a16:creationId xmlns:a16="http://schemas.microsoft.com/office/drawing/2014/main" id="{136E96AD-2C38-4E08-8A7D-A524117FDF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729" t="39374" r="55207" b="6"/>
          <a:stretch/>
        </p:blipFill>
        <p:spPr>
          <a:xfrm>
            <a:off x="0" y="-2"/>
            <a:ext cx="4572000" cy="626364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2" y="228600"/>
            <a:ext cx="404622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46272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227409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</a:pPr>
            <a:endParaRPr lang="en-US" sz="135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3E292F22-31D7-43DA-8D74-8B755273876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0070" y="777240"/>
            <a:ext cx="3429000" cy="5303520"/>
          </a:xfrm>
          <a:solidFill>
            <a:schemeClr val="bg1">
              <a:lumMod val="85000"/>
            </a:schemeClr>
          </a:solidFill>
          <a:ln w="1270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66260" y="228600"/>
            <a:ext cx="452628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42284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1" y="0"/>
            <a:ext cx="686990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</a:pPr>
            <a:endParaRPr lang="en-US" sz="135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3E292F22-31D7-43DA-8D74-8B755273876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54930" y="777240"/>
            <a:ext cx="3429000" cy="5303520"/>
          </a:xfrm>
          <a:solidFill>
            <a:schemeClr val="bg1">
              <a:lumMod val="85000"/>
            </a:schemeClr>
          </a:solidFill>
          <a:ln w="1270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460" y="228600"/>
            <a:ext cx="452628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77227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17AF177E-62C6-42EE-A2C0-777C1AD04EDC}"/>
              </a:ext>
            </a:extLst>
          </p:cNvPr>
          <p:cNvGrpSpPr/>
          <p:nvPr userDrawn="1"/>
        </p:nvGrpSpPr>
        <p:grpSpPr>
          <a:xfrm>
            <a:off x="1" y="667386"/>
            <a:ext cx="4899366" cy="6190614"/>
            <a:chOff x="1" y="667386"/>
            <a:chExt cx="6532488" cy="6190614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223C106-9483-494E-B417-C6D469511E0E}"/>
                </a:ext>
              </a:extLst>
            </p:cNvPr>
            <p:cNvSpPr/>
            <p:nvPr userDrawn="1"/>
          </p:nvSpPr>
          <p:spPr>
            <a:xfrm>
              <a:off x="2558223" y="667386"/>
              <a:ext cx="1849450" cy="6190614"/>
            </a:xfrm>
            <a:custGeom>
              <a:avLst/>
              <a:gdLst>
                <a:gd name="connsiteX0" fmla="*/ 494822 w 1849450"/>
                <a:gd name="connsiteY0" fmla="*/ 0 h 6190614"/>
                <a:gd name="connsiteX1" fmla="*/ 1849450 w 1849450"/>
                <a:gd name="connsiteY1" fmla="*/ 108277 h 6190614"/>
                <a:gd name="connsiteX2" fmla="*/ 1363281 w 1849450"/>
                <a:gd name="connsiteY2" fmla="*/ 6190614 h 6190614"/>
                <a:gd name="connsiteX3" fmla="*/ 0 w 1849450"/>
                <a:gd name="connsiteY3" fmla="*/ 6190614 h 6190614"/>
                <a:gd name="connsiteX4" fmla="*/ 494822 w 1849450"/>
                <a:gd name="connsiteY4" fmla="*/ 0 h 6190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9450" h="6190614">
                  <a:moveTo>
                    <a:pt x="494822" y="0"/>
                  </a:moveTo>
                  <a:lnTo>
                    <a:pt x="1849450" y="108277"/>
                  </a:lnTo>
                  <a:lnTo>
                    <a:pt x="1363281" y="6190614"/>
                  </a:lnTo>
                  <a:lnTo>
                    <a:pt x="0" y="6190614"/>
                  </a:lnTo>
                  <a:lnTo>
                    <a:pt x="494822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</a:pPr>
              <a:endParaRPr lang="en-US" sz="1350">
                <a:solidFill>
                  <a:schemeClr val="tx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7C970ED-4F1D-4B79-BA6F-4D048A56ED47}"/>
                </a:ext>
              </a:extLst>
            </p:cNvPr>
            <p:cNvSpPr/>
            <p:nvPr userDrawn="1"/>
          </p:nvSpPr>
          <p:spPr>
            <a:xfrm>
              <a:off x="4502045" y="692238"/>
              <a:ext cx="2030444" cy="6165762"/>
            </a:xfrm>
            <a:custGeom>
              <a:avLst/>
              <a:gdLst>
                <a:gd name="connsiteX0" fmla="*/ 1345359 w 2030444"/>
                <a:gd name="connsiteY0" fmla="*/ 0 h 6165762"/>
                <a:gd name="connsiteX1" fmla="*/ 2030444 w 2030444"/>
                <a:gd name="connsiteY1" fmla="*/ 6165762 h 6165762"/>
                <a:gd name="connsiteX2" fmla="*/ 668477 w 2030444"/>
                <a:gd name="connsiteY2" fmla="*/ 6165762 h 6165762"/>
                <a:gd name="connsiteX3" fmla="*/ 0 w 2030444"/>
                <a:gd name="connsiteY3" fmla="*/ 149484 h 6165762"/>
                <a:gd name="connsiteX4" fmla="*/ 1345359 w 2030444"/>
                <a:gd name="connsiteY4" fmla="*/ 0 h 6165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444" h="6165762">
                  <a:moveTo>
                    <a:pt x="1345359" y="0"/>
                  </a:moveTo>
                  <a:lnTo>
                    <a:pt x="2030444" y="6165762"/>
                  </a:lnTo>
                  <a:lnTo>
                    <a:pt x="668477" y="6165762"/>
                  </a:lnTo>
                  <a:lnTo>
                    <a:pt x="0" y="149484"/>
                  </a:lnTo>
                  <a:lnTo>
                    <a:pt x="1345359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</a:pPr>
              <a:endParaRPr lang="en-US" sz="1350">
                <a:solidFill>
                  <a:schemeClr val="tx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A4F293E-5F4D-421E-BA0E-FF487B0C6228}"/>
                </a:ext>
              </a:extLst>
            </p:cNvPr>
            <p:cNvSpPr/>
            <p:nvPr userDrawn="1"/>
          </p:nvSpPr>
          <p:spPr>
            <a:xfrm>
              <a:off x="1025854" y="712296"/>
              <a:ext cx="1387895" cy="6145704"/>
            </a:xfrm>
            <a:custGeom>
              <a:avLst/>
              <a:gdLst>
                <a:gd name="connsiteX0" fmla="*/ 1358933 w 1387895"/>
                <a:gd name="connsiteY0" fmla="*/ 0 h 6145704"/>
                <a:gd name="connsiteX1" fmla="*/ 1387895 w 1387895"/>
                <a:gd name="connsiteY1" fmla="*/ 6145704 h 6145704"/>
                <a:gd name="connsiteX2" fmla="*/ 28932 w 1387895"/>
                <a:gd name="connsiteY2" fmla="*/ 6145704 h 6145704"/>
                <a:gd name="connsiteX3" fmla="*/ 0 w 1387895"/>
                <a:gd name="connsiteY3" fmla="*/ 6404 h 6145704"/>
                <a:gd name="connsiteX4" fmla="*/ 1358933 w 1387895"/>
                <a:gd name="connsiteY4" fmla="*/ 0 h 6145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7895" h="6145704">
                  <a:moveTo>
                    <a:pt x="1358933" y="0"/>
                  </a:moveTo>
                  <a:lnTo>
                    <a:pt x="1387895" y="6145704"/>
                  </a:lnTo>
                  <a:lnTo>
                    <a:pt x="28932" y="6145704"/>
                  </a:lnTo>
                  <a:lnTo>
                    <a:pt x="0" y="6404"/>
                  </a:lnTo>
                  <a:lnTo>
                    <a:pt x="1358933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</a:pPr>
              <a:endParaRPr lang="en-US" sz="1350">
                <a:solidFill>
                  <a:schemeClr val="tx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41F0D19-D2B9-4F58-B736-D0360CDE6ECF}"/>
                </a:ext>
              </a:extLst>
            </p:cNvPr>
            <p:cNvSpPr/>
            <p:nvPr userDrawn="1"/>
          </p:nvSpPr>
          <p:spPr>
            <a:xfrm>
              <a:off x="1" y="722994"/>
              <a:ext cx="730645" cy="6135006"/>
            </a:xfrm>
            <a:custGeom>
              <a:avLst/>
              <a:gdLst>
                <a:gd name="connsiteX0" fmla="*/ 0 w 730645"/>
                <a:gd name="connsiteY0" fmla="*/ 0 h 6135006"/>
                <a:gd name="connsiteX1" fmla="*/ 730645 w 730645"/>
                <a:gd name="connsiteY1" fmla="*/ 30623 h 6135006"/>
                <a:gd name="connsiteX2" fmla="*/ 474795 w 730645"/>
                <a:gd name="connsiteY2" fmla="*/ 6135006 h 6135006"/>
                <a:gd name="connsiteX3" fmla="*/ 0 w 730645"/>
                <a:gd name="connsiteY3" fmla="*/ 6135006 h 6135006"/>
                <a:gd name="connsiteX4" fmla="*/ 0 w 730645"/>
                <a:gd name="connsiteY4" fmla="*/ 0 h 6135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0645" h="6135006">
                  <a:moveTo>
                    <a:pt x="0" y="0"/>
                  </a:moveTo>
                  <a:lnTo>
                    <a:pt x="730645" y="30623"/>
                  </a:lnTo>
                  <a:lnTo>
                    <a:pt x="474795" y="6135006"/>
                  </a:lnTo>
                  <a:lnTo>
                    <a:pt x="0" y="61350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</a:pPr>
              <a:endParaRPr lang="en-US" sz="1350">
                <a:solidFill>
                  <a:schemeClr val="tx1"/>
                </a:solidFill>
              </a:endParaRPr>
            </a:p>
          </p:txBody>
        </p:sp>
      </p:grp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846320" y="228600"/>
            <a:ext cx="4046220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62594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D96E502C-129E-424D-87C8-23B783B1E9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1714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tIns="155448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3" y="228600"/>
            <a:ext cx="8641556" cy="6400800"/>
          </a:xfrm>
        </p:spPr>
        <p:txBody>
          <a:bodyPr lIns="91440" rIns="91440" bIns="91440" anchor="ctr" anchorCtr="0">
            <a:no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25533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100" y="228603"/>
            <a:ext cx="8092440" cy="2560319"/>
          </a:xfrm>
        </p:spPr>
        <p:txBody>
          <a:bodyPr anchor="b" anchorCtr="0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0100" y="3611883"/>
            <a:ext cx="8092440" cy="2652395"/>
          </a:xfrm>
        </p:spPr>
        <p:txBody>
          <a:bodyPr/>
          <a:lstStyle>
            <a:lvl1pPr marL="0" indent="0">
              <a:buNone/>
              <a:defRPr/>
            </a:lvl1pPr>
            <a:lvl2pPr marL="386954" indent="-173831">
              <a:buFont typeface="Symbol" panose="05050102010706020507" pitchFamily="18" charset="2"/>
              <a:buChar char="·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13301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F5A223-433E-4FAB-9D8A-E7E3D6CF1B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68981" y="228600"/>
            <a:ext cx="5623799" cy="6400800"/>
          </a:xfrm>
        </p:spPr>
        <p:txBody>
          <a:bodyPr anchor="ctr" anchorCtr="0"/>
          <a:lstStyle>
            <a:lvl1pPr marL="0" indent="0">
              <a:spcBef>
                <a:spcPts val="1050"/>
              </a:spcBef>
              <a:buNone/>
              <a:defRPr sz="3000" b="1"/>
            </a:lvl1pPr>
            <a:lvl2pPr marL="386954" indent="-173831">
              <a:buFont typeface="Arial" panose="020B0604020202020204" pitchFamily="34" charset="0"/>
              <a:buChar char="•"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Agenda Item 1</a:t>
            </a:r>
          </a:p>
          <a:p>
            <a:pPr lvl="0"/>
            <a:r>
              <a:rPr lang="en-US"/>
              <a:t>Agenda Item 2</a:t>
            </a:r>
          </a:p>
          <a:p>
            <a:pPr lvl="0"/>
            <a:r>
              <a:rPr lang="en-US"/>
              <a:t>Agenda Item 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81004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76109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4" y="1143003"/>
            <a:ext cx="8641556" cy="512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89469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2 column f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4" y="1143003"/>
            <a:ext cx="8641556" cy="5121275"/>
          </a:xfrm>
        </p:spPr>
        <p:txBody>
          <a:bodyPr numCol="2" spcCol="45720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8701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ABB13-8D2C-511C-DABE-9FB40406F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0A5352-CA55-6611-C06E-D936087AA9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EFEC44-A71A-8AB3-871A-DCDA6686A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F03B4F-D8FC-1333-7809-37D0047B6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939460-91E6-877A-0C0A-8F99C58A8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49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hite w/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35A23D-E666-4E0C-9980-F206C8FA51CB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>
              <a:gd name="connsiteX0" fmla="*/ 182880 w 12192000"/>
              <a:gd name="connsiteY0" fmla="*/ 182880 h 6858000"/>
              <a:gd name="connsiteX1" fmla="*/ 182880 w 12192000"/>
              <a:gd name="connsiteY1" fmla="*/ 6675120 h 6858000"/>
              <a:gd name="connsiteX2" fmla="*/ 12009120 w 12192000"/>
              <a:gd name="connsiteY2" fmla="*/ 6675120 h 6858000"/>
              <a:gd name="connsiteX3" fmla="*/ 12009120 w 12192000"/>
              <a:gd name="connsiteY3" fmla="*/ 182880 h 6858000"/>
              <a:gd name="connsiteX4" fmla="*/ 1200912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12188952 w 12192000"/>
              <a:gd name="connsiteY7" fmla="*/ 6858000 h 6858000"/>
              <a:gd name="connsiteX8" fmla="*/ 12009120 w 12192000"/>
              <a:gd name="connsiteY8" fmla="*/ 6858000 h 6858000"/>
              <a:gd name="connsiteX9" fmla="*/ 182880 w 12192000"/>
              <a:gd name="connsiteY9" fmla="*/ 6858000 h 6858000"/>
              <a:gd name="connsiteX10" fmla="*/ 1 w 12192000"/>
              <a:gd name="connsiteY10" fmla="*/ 6858000 h 6858000"/>
              <a:gd name="connsiteX11" fmla="*/ 0 w 12192000"/>
              <a:gd name="connsiteY11" fmla="*/ 6858000 h 6858000"/>
              <a:gd name="connsiteX12" fmla="*/ 0 w 12192000"/>
              <a:gd name="connsiteY12" fmla="*/ 0 h 6858000"/>
              <a:gd name="connsiteX13" fmla="*/ 182880 w 12192000"/>
              <a:gd name="connsiteY13" fmla="*/ 0 h 6858000"/>
              <a:gd name="connsiteX14" fmla="*/ 182880 w 12192000"/>
              <a:gd name="connsiteY14" fmla="*/ 0 h 6858000"/>
              <a:gd name="connsiteX15" fmla="*/ 12009120 w 12192000"/>
              <a:gd name="connsiteY1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182880" y="182880"/>
                </a:moveTo>
                <a:lnTo>
                  <a:pt x="182880" y="6675120"/>
                </a:lnTo>
                <a:lnTo>
                  <a:pt x="12009120" y="6675120"/>
                </a:lnTo>
                <a:lnTo>
                  <a:pt x="12009120" y="182880"/>
                </a:lnTo>
                <a:close/>
                <a:moveTo>
                  <a:pt x="1200912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88952" y="6858000"/>
                </a:lnTo>
                <a:lnTo>
                  <a:pt x="12009120" y="6858000"/>
                </a:lnTo>
                <a:lnTo>
                  <a:pt x="182880" y="6858000"/>
                </a:lnTo>
                <a:lnTo>
                  <a:pt x="1" y="6858000"/>
                </a:lnTo>
                <a:lnTo>
                  <a:pt x="0" y="6858000"/>
                </a:lnTo>
                <a:lnTo>
                  <a:pt x="0" y="0"/>
                </a:lnTo>
                <a:lnTo>
                  <a:pt x="182880" y="0"/>
                </a:lnTo>
                <a:lnTo>
                  <a:pt x="182880" y="0"/>
                </a:lnTo>
                <a:lnTo>
                  <a:pt x="12009120" y="0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68580" bIns="685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</a:pPr>
            <a:endParaRPr lang="en-US" sz="135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4F405B-5E7B-47A1-BC60-A16DA5AD9E0D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251224" y="1143003"/>
            <a:ext cx="8641556" cy="512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4873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Gray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B97DE0F-8E09-4A9E-B147-4CAA37FBF620}"/>
              </a:ext>
            </a:extLst>
          </p:cNvPr>
          <p:cNvSpPr/>
          <p:nvPr userDrawn="1"/>
        </p:nvSpPr>
        <p:spPr>
          <a:xfrm>
            <a:off x="0" y="0"/>
            <a:ext cx="304495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35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2" y="228601"/>
            <a:ext cx="2606040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FE7C49-08F2-4F4B-9DC7-9D046A4F12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2" y="1143003"/>
            <a:ext cx="2606040" cy="512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74C75D69-D919-4F63-92AB-E1B7678E0300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9937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&amp;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2" y="228601"/>
            <a:ext cx="2606040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FE7C49-08F2-4F4B-9DC7-9D046A4F12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1222" y="1143003"/>
            <a:ext cx="2606040" cy="512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BC9F09F6-C303-4330-83E4-FC5BAC60BB6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44952" y="0"/>
            <a:ext cx="6099048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13540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o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71480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Halfsie Arr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ecorative Arrow">
            <a:extLst>
              <a:ext uri="{FF2B5EF4-FFF2-40B4-BE49-F238E27FC236}">
                <a16:creationId xmlns:a16="http://schemas.microsoft.com/office/drawing/2014/main" id="{1404ED11-1EAF-4297-8BB5-17771BD4D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732020" cy="6858000"/>
          </a:xfrm>
          <a:prstGeom prst="rightArrow">
            <a:avLst>
              <a:gd name="adj1" fmla="val 100000"/>
              <a:gd name="adj2" fmla="val 8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35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4D107638-A9E9-4334-BA70-4B3D4D4EB23B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37733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Halfs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ecorative Arrow">
            <a:extLst>
              <a:ext uri="{FF2B5EF4-FFF2-40B4-BE49-F238E27FC236}">
                <a16:creationId xmlns:a16="http://schemas.microsoft.com/office/drawing/2014/main" id="{1404ED11-1EAF-4297-8BB5-17771BD4DF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572000" cy="6858000"/>
          </a:xfrm>
          <a:prstGeom prst="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endParaRPr lang="en-US" sz="135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4D107638-A9E9-4334-BA70-4B3D4D4EB23B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6762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old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ld Bar">
            <a:extLst>
              <a:ext uri="{FF2B5EF4-FFF2-40B4-BE49-F238E27FC236}">
                <a16:creationId xmlns:a16="http://schemas.microsoft.com/office/drawing/2014/main" id="{50FE6178-DC88-4788-BDB0-7B856173CEDC}"/>
              </a:ext>
            </a:extLst>
          </p:cNvPr>
          <p:cNvSpPr/>
          <p:nvPr userDrawn="1"/>
        </p:nvSpPr>
        <p:spPr>
          <a:xfrm>
            <a:off x="0" y="0"/>
            <a:ext cx="9144000" cy="10972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</a:pPr>
            <a:endParaRPr lang="en-US" sz="135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03621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47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  <p15:guide id="4" orient="horz" pos="2333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sie w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ld Bar">
            <a:extLst>
              <a:ext uri="{FF2B5EF4-FFF2-40B4-BE49-F238E27FC236}">
                <a16:creationId xmlns:a16="http://schemas.microsoft.com/office/drawing/2014/main" id="{63501C58-AC7F-46FD-8388-A2E4E198F896}"/>
              </a:ext>
            </a:extLst>
          </p:cNvPr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</a:pPr>
            <a:endParaRPr lang="en-US" sz="1350" err="1">
              <a:solidFill>
                <a:schemeClr val="tx1"/>
              </a:solidFill>
            </a:endParaRP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E75F83C4-11E0-4D6C-9717-55251FAA98CF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2" y="228600"/>
            <a:ext cx="4046220" cy="6400800"/>
          </a:xfrm>
        </p:spPr>
        <p:txBody>
          <a:bodyPr lIns="182880" rIns="182880" bIns="91440" anchor="ctr" anchorCtr="1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Halfsie</a:t>
            </a:r>
            <a:r>
              <a:rPr lang="en-US"/>
              <a:t>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4414CCD-68CA-4052-8276-22F4D39C05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320" y="228600"/>
            <a:ext cx="4046220" cy="6400800"/>
          </a:xfrm>
        </p:spPr>
        <p:txBody>
          <a:bodyPr anchor="ctr" anchorCtr="1"/>
          <a:lstStyle>
            <a:lvl1pPr>
              <a:spcBef>
                <a:spcPts val="18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6132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sie w/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222" y="228600"/>
            <a:ext cx="4046220" cy="6400800"/>
          </a:xfrm>
        </p:spPr>
        <p:txBody>
          <a:bodyPr lIns="457200" rIns="457200" bIns="91440" anchor="ctr" anchorCtr="1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err="1"/>
              <a:t>Halfsie</a:t>
            </a:r>
            <a:r>
              <a:rPr lang="en-US"/>
              <a:t> Slide</a:t>
            </a:r>
          </a:p>
        </p:txBody>
      </p:sp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69714" y="0"/>
            <a:ext cx="4574286" cy="6858000"/>
          </a:xfrm>
          <a:solidFill>
            <a:schemeClr val="bg1">
              <a:lumMod val="85000"/>
            </a:schemeClr>
          </a:solidFill>
          <a:ln w="1270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46238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00100" y="594360"/>
            <a:ext cx="7543800" cy="5669280"/>
          </a:xfrm>
        </p:spPr>
        <p:txBody>
          <a:bodyPr lIns="91440" rIns="91440" bIns="91440" anchor="ctr" anchorCtr="0">
            <a:noAutofit/>
          </a:bodyPr>
          <a:lstStyle>
            <a:lvl1pPr algn="ctr">
              <a:lnSpc>
                <a:spcPct val="9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/>
              <a:t>Quote Slid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0B2D9B87-6A8D-4859-925B-5494D8AC40DF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>
              <a:gd name="connsiteX0" fmla="*/ 182880 w 12192000"/>
              <a:gd name="connsiteY0" fmla="*/ 182880 h 6858000"/>
              <a:gd name="connsiteX1" fmla="*/ 182880 w 12192000"/>
              <a:gd name="connsiteY1" fmla="*/ 6675120 h 6858000"/>
              <a:gd name="connsiteX2" fmla="*/ 12009120 w 12192000"/>
              <a:gd name="connsiteY2" fmla="*/ 6675120 h 6858000"/>
              <a:gd name="connsiteX3" fmla="*/ 12009120 w 12192000"/>
              <a:gd name="connsiteY3" fmla="*/ 182880 h 6858000"/>
              <a:gd name="connsiteX4" fmla="*/ 1200912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12188952 w 12192000"/>
              <a:gd name="connsiteY7" fmla="*/ 6858000 h 6858000"/>
              <a:gd name="connsiteX8" fmla="*/ 12009120 w 12192000"/>
              <a:gd name="connsiteY8" fmla="*/ 6858000 h 6858000"/>
              <a:gd name="connsiteX9" fmla="*/ 182880 w 12192000"/>
              <a:gd name="connsiteY9" fmla="*/ 6858000 h 6858000"/>
              <a:gd name="connsiteX10" fmla="*/ 1 w 12192000"/>
              <a:gd name="connsiteY10" fmla="*/ 6858000 h 6858000"/>
              <a:gd name="connsiteX11" fmla="*/ 0 w 12192000"/>
              <a:gd name="connsiteY11" fmla="*/ 6858000 h 6858000"/>
              <a:gd name="connsiteX12" fmla="*/ 0 w 12192000"/>
              <a:gd name="connsiteY12" fmla="*/ 0 h 6858000"/>
              <a:gd name="connsiteX13" fmla="*/ 182880 w 12192000"/>
              <a:gd name="connsiteY13" fmla="*/ 0 h 6858000"/>
              <a:gd name="connsiteX14" fmla="*/ 182880 w 12192000"/>
              <a:gd name="connsiteY14" fmla="*/ 0 h 6858000"/>
              <a:gd name="connsiteX15" fmla="*/ 12009120 w 12192000"/>
              <a:gd name="connsiteY1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858000">
                <a:moveTo>
                  <a:pt x="182880" y="182880"/>
                </a:moveTo>
                <a:lnTo>
                  <a:pt x="182880" y="6675120"/>
                </a:lnTo>
                <a:lnTo>
                  <a:pt x="12009120" y="6675120"/>
                </a:lnTo>
                <a:lnTo>
                  <a:pt x="12009120" y="182880"/>
                </a:lnTo>
                <a:close/>
                <a:moveTo>
                  <a:pt x="1200912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88952" y="6858000"/>
                </a:lnTo>
                <a:lnTo>
                  <a:pt x="12009120" y="6858000"/>
                </a:lnTo>
                <a:lnTo>
                  <a:pt x="182880" y="6858000"/>
                </a:lnTo>
                <a:lnTo>
                  <a:pt x="1" y="6858000"/>
                </a:lnTo>
                <a:lnTo>
                  <a:pt x="0" y="6858000"/>
                </a:lnTo>
                <a:lnTo>
                  <a:pt x="0" y="0"/>
                </a:lnTo>
                <a:lnTo>
                  <a:pt x="182880" y="0"/>
                </a:lnTo>
                <a:lnTo>
                  <a:pt x="182880" y="0"/>
                </a:lnTo>
                <a:lnTo>
                  <a:pt x="12009120" y="0"/>
                </a:lnTo>
                <a:close/>
              </a:path>
            </a:pathLst>
          </a:cu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68580" bIns="6858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450"/>
              </a:spcBef>
            </a:pPr>
            <a:endParaRPr lang="en-US" sz="135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91892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B9F1D7-AC9B-2919-AB3C-CB0104FC8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C53439-2718-B269-6761-47D1DEA285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21E54A-7D8A-8BFC-02A3-DD7D73B1A0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F47698-9824-87BF-AAAE-2541BB24C4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85C784-A97F-8BDE-3FD4-3D05AED94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BB4034-CA5A-ABA7-F824-291AE6616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2347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Go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74006848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3108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3AF01502-766D-4FD3-83B3-C3E989F234B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828229" y="0"/>
            <a:ext cx="183108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CFB9CD3-4D23-4FBF-935D-DE38A97367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656457" y="0"/>
            <a:ext cx="183108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E8DE0167-0B73-4177-8A6A-CAF969065B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84686" y="0"/>
            <a:ext cx="183108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1B301C60-01B3-4286-BB15-50546FB0D97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2914" y="0"/>
            <a:ext cx="1831086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ED83A722-9643-45ED-9575-43427A35AF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108960"/>
            <a:ext cx="183108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09D99A6E-6DC8-4957-95E5-F027C381B4B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828229" y="3108960"/>
            <a:ext cx="183108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42575524-686F-4AC3-9FB3-46540407BB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56457" y="3108960"/>
            <a:ext cx="183108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29AD3DF0-D818-4B10-8B0D-81E4B467D62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484686" y="3108960"/>
            <a:ext cx="183108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DDB78F27-A8F5-4AC2-B9E1-72DEC377A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2914" y="3108960"/>
            <a:ext cx="1831086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917529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3044952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3AF01502-766D-4FD3-83B3-C3E989F234B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49524" y="0"/>
            <a:ext cx="3044952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6CFB9CD3-4D23-4FBF-935D-DE38A973675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9048" y="0"/>
            <a:ext cx="3044952" cy="310896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ED83A722-9643-45ED-9575-43427A35AFD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3108960"/>
            <a:ext cx="3044952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09D99A6E-6DC8-4957-95E5-F027C381B4B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9524" y="3108960"/>
            <a:ext cx="3044952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  <p:sp>
        <p:nvSpPr>
          <p:cNvPr id="12" name="Picture Placeholder">
            <a:extLst>
              <a:ext uri="{FF2B5EF4-FFF2-40B4-BE49-F238E27FC236}">
                <a16:creationId xmlns:a16="http://schemas.microsoft.com/office/drawing/2014/main" id="{42575524-686F-4AC3-9FB3-46540407BB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9048" y="3108960"/>
            <a:ext cx="3044952" cy="315468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69814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up P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">
            <a:extLst>
              <a:ext uri="{FF2B5EF4-FFF2-40B4-BE49-F238E27FC236}">
                <a16:creationId xmlns:a16="http://schemas.microsoft.com/office/drawing/2014/main" id="{DD957228-7E17-4F86-AA92-1691BF6553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263640"/>
          </a:xfrm>
          <a:solidFill>
            <a:schemeClr val="bg1">
              <a:lumMod val="85000"/>
            </a:schemeClr>
          </a:solidFill>
          <a:ln w="38100">
            <a:noFill/>
            <a:miter lim="800000"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Insert Photo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71543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ch">
            <a:extLst>
              <a:ext uri="{FF2B5EF4-FFF2-40B4-BE49-F238E27FC236}">
                <a16:creationId xmlns:a16="http://schemas.microsoft.com/office/drawing/2014/main" id="{DB7569CE-CCCE-49E0-A326-5FB24671C246}"/>
              </a:ext>
            </a:extLst>
          </p:cNvPr>
          <p:cNvSpPr>
            <a:spLocks noChangeAspect="1"/>
          </p:cNvSpPr>
          <p:nvPr userDrawn="1"/>
        </p:nvSpPr>
        <p:spPr>
          <a:xfrm>
            <a:off x="3827455" y="2148840"/>
            <a:ext cx="1489094" cy="1737360"/>
          </a:xfrm>
          <a:custGeom>
            <a:avLst/>
            <a:gdLst>
              <a:gd name="connsiteX0" fmla="*/ 6090931 w 8472965"/>
              <a:gd name="connsiteY0" fmla="*/ 529337 h 7414245"/>
              <a:gd name="connsiteX1" fmla="*/ 7414279 w 8472965"/>
              <a:gd name="connsiteY1" fmla="*/ 7414245 h 7414245"/>
              <a:gd name="connsiteX2" fmla="*/ 8472957 w 8472965"/>
              <a:gd name="connsiteY2" fmla="*/ 7414245 h 7414245"/>
              <a:gd name="connsiteX3" fmla="*/ 6090931 w 8472965"/>
              <a:gd name="connsiteY3" fmla="*/ 0 h 7414245"/>
              <a:gd name="connsiteX4" fmla="*/ 4238243 w 8472965"/>
              <a:gd name="connsiteY4" fmla="*/ 2558462 h 7414245"/>
              <a:gd name="connsiteX5" fmla="*/ 2382027 w 8472965"/>
              <a:gd name="connsiteY5" fmla="*/ 0 h 7414245"/>
              <a:gd name="connsiteX6" fmla="*/ 0 w 8472965"/>
              <a:gd name="connsiteY6" fmla="*/ 7414245 h 7414245"/>
              <a:gd name="connsiteX7" fmla="*/ 1058679 w 8472965"/>
              <a:gd name="connsiteY7" fmla="*/ 7414245 h 7414245"/>
              <a:gd name="connsiteX8" fmla="*/ 2382027 w 8472965"/>
              <a:gd name="connsiteY8" fmla="*/ 529337 h 7414245"/>
              <a:gd name="connsiteX9" fmla="*/ 3705375 w 8472965"/>
              <a:gd name="connsiteY9" fmla="*/ 6884908 h 7414245"/>
              <a:gd name="connsiteX10" fmla="*/ 4764054 w 8472965"/>
              <a:gd name="connsiteY10" fmla="*/ 6884908 h 7414245"/>
              <a:gd name="connsiteX11" fmla="*/ 6090931 w 8472965"/>
              <a:gd name="connsiteY11" fmla="*/ 529337 h 7414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472965" h="7414245">
                <a:moveTo>
                  <a:pt x="6090931" y="529337"/>
                </a:moveTo>
                <a:cubicBezTo>
                  <a:pt x="6821419" y="529337"/>
                  <a:pt x="7414279" y="3613606"/>
                  <a:pt x="7414279" y="7414245"/>
                </a:cubicBezTo>
                <a:lnTo>
                  <a:pt x="8472957" y="7414245"/>
                </a:lnTo>
                <a:cubicBezTo>
                  <a:pt x="8476486" y="3320707"/>
                  <a:pt x="7407221" y="0"/>
                  <a:pt x="6090931" y="0"/>
                </a:cubicBezTo>
                <a:cubicBezTo>
                  <a:pt x="5342798" y="0"/>
                  <a:pt x="4672301" y="998682"/>
                  <a:pt x="4238243" y="2558462"/>
                </a:cubicBezTo>
                <a:cubicBezTo>
                  <a:pt x="3800656" y="998682"/>
                  <a:pt x="3133689" y="0"/>
                  <a:pt x="2382027" y="0"/>
                </a:cubicBezTo>
                <a:cubicBezTo>
                  <a:pt x="1065736" y="0"/>
                  <a:pt x="0" y="3320707"/>
                  <a:pt x="0" y="7414245"/>
                </a:cubicBezTo>
                <a:lnTo>
                  <a:pt x="1058679" y="7414245"/>
                </a:lnTo>
                <a:cubicBezTo>
                  <a:pt x="1058679" y="3613606"/>
                  <a:pt x="1651539" y="529337"/>
                  <a:pt x="2382027" y="529337"/>
                </a:cubicBezTo>
                <a:cubicBezTo>
                  <a:pt x="3112515" y="529337"/>
                  <a:pt x="3705375" y="3373640"/>
                  <a:pt x="3705375" y="6884908"/>
                </a:cubicBezTo>
                <a:lnTo>
                  <a:pt x="4764054" y="6884908"/>
                </a:lnTo>
                <a:cubicBezTo>
                  <a:pt x="4767583" y="3377169"/>
                  <a:pt x="5360442" y="529337"/>
                  <a:pt x="6090931" y="529337"/>
                </a:cubicBezTo>
              </a:path>
            </a:pathLst>
          </a:custGeom>
          <a:solidFill>
            <a:schemeClr val="accent1"/>
          </a:solidFill>
          <a:ln w="23179" cap="flat">
            <a:noFill/>
            <a:prstDash val="solid"/>
            <a:miter/>
          </a:ln>
        </p:spPr>
        <p:txBody>
          <a:bodyPr rtlCol="0" anchor="ctr"/>
          <a:lstStyle/>
          <a:p>
            <a:pPr>
              <a:lnSpc>
                <a:spcPct val="80000"/>
              </a:lnSpc>
              <a:spcBef>
                <a:spcPts val="0"/>
              </a:spcBef>
            </a:pPr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222" y="4343400"/>
            <a:ext cx="8641557" cy="1097280"/>
          </a:xfrm>
          <a:prstGeom prst="rect">
            <a:avLst/>
          </a:prstGeom>
        </p:spPr>
        <p:txBody>
          <a:bodyPr/>
          <a:lstStyle>
            <a:lvl1pPr algn="ctr">
              <a:defRPr sz="4050" b="1">
                <a:solidFill>
                  <a:schemeClr val="tx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4718531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mile">
            <a:extLst>
              <a:ext uri="{FF2B5EF4-FFF2-40B4-BE49-F238E27FC236}">
                <a16:creationId xmlns:a16="http://schemas.microsoft.com/office/drawing/2014/main" id="{C3921F8B-7D89-4D3C-A0B7-A4A5676B0457}"/>
              </a:ext>
            </a:extLst>
          </p:cNvPr>
          <p:cNvSpPr/>
          <p:nvPr/>
        </p:nvSpPr>
        <p:spPr>
          <a:xfrm>
            <a:off x="2788921" y="1894403"/>
            <a:ext cx="3560448" cy="2059550"/>
          </a:xfrm>
          <a:custGeom>
            <a:avLst/>
            <a:gdLst>
              <a:gd name="connsiteX0" fmla="*/ 5045752 w 5851802"/>
              <a:gd name="connsiteY0" fmla="*/ 0 h 2538742"/>
              <a:gd name="connsiteX1" fmla="*/ 4895966 w 5851802"/>
              <a:gd name="connsiteY1" fmla="*/ 313535 h 2538742"/>
              <a:gd name="connsiteX2" fmla="*/ 5156187 w 5851802"/>
              <a:gd name="connsiteY2" fmla="*/ 427778 h 2538742"/>
              <a:gd name="connsiteX3" fmla="*/ 2929710 w 5851802"/>
              <a:gd name="connsiteY3" fmla="*/ 1942138 h 2538742"/>
              <a:gd name="connsiteX4" fmla="*/ 704501 w 5851802"/>
              <a:gd name="connsiteY4" fmla="*/ 426509 h 2538742"/>
              <a:gd name="connsiteX5" fmla="*/ 964722 w 5851802"/>
              <a:gd name="connsiteY5" fmla="*/ 312265 h 2538742"/>
              <a:gd name="connsiteX6" fmla="*/ 814937 w 5851802"/>
              <a:gd name="connsiteY6" fmla="*/ 0 h 2538742"/>
              <a:gd name="connsiteX7" fmla="*/ 0 w 5851802"/>
              <a:gd name="connsiteY7" fmla="*/ 371926 h 2538742"/>
              <a:gd name="connsiteX8" fmla="*/ 144708 w 5851802"/>
              <a:gd name="connsiteY8" fmla="*/ 680383 h 2538742"/>
              <a:gd name="connsiteX9" fmla="*/ 435394 w 5851802"/>
              <a:gd name="connsiteY9" fmla="*/ 545830 h 2538742"/>
              <a:gd name="connsiteX10" fmla="*/ 2929710 w 5851802"/>
              <a:gd name="connsiteY10" fmla="*/ 2546359 h 2538742"/>
              <a:gd name="connsiteX11" fmla="*/ 5425294 w 5851802"/>
              <a:gd name="connsiteY11" fmla="*/ 545830 h 2538742"/>
              <a:gd name="connsiteX12" fmla="*/ 5715980 w 5851802"/>
              <a:gd name="connsiteY12" fmla="*/ 680383 h 2538742"/>
              <a:gd name="connsiteX13" fmla="*/ 5860688 w 5851802"/>
              <a:gd name="connsiteY13" fmla="*/ 371926 h 2538742"/>
              <a:gd name="connsiteX14" fmla="*/ 5045752 w 5851802"/>
              <a:gd name="connsiteY14" fmla="*/ 0 h 2538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851802" h="2538742">
                <a:moveTo>
                  <a:pt x="5045752" y="0"/>
                </a:moveTo>
                <a:lnTo>
                  <a:pt x="4895966" y="313535"/>
                </a:lnTo>
                <a:lnTo>
                  <a:pt x="5156187" y="427778"/>
                </a:lnTo>
                <a:cubicBezTo>
                  <a:pt x="4774106" y="1535939"/>
                  <a:pt x="3698949" y="1942138"/>
                  <a:pt x="2929710" y="1942138"/>
                </a:cubicBezTo>
                <a:cubicBezTo>
                  <a:pt x="2160470" y="1942138"/>
                  <a:pt x="1086582" y="1535939"/>
                  <a:pt x="704501" y="426509"/>
                </a:cubicBezTo>
                <a:lnTo>
                  <a:pt x="964722" y="312265"/>
                </a:lnTo>
                <a:lnTo>
                  <a:pt x="814937" y="0"/>
                </a:lnTo>
                <a:lnTo>
                  <a:pt x="0" y="371926"/>
                </a:lnTo>
                <a:lnTo>
                  <a:pt x="144708" y="680383"/>
                </a:lnTo>
                <a:lnTo>
                  <a:pt x="435394" y="545830"/>
                </a:lnTo>
                <a:cubicBezTo>
                  <a:pt x="586450" y="1120855"/>
                  <a:pt x="1375999" y="2546359"/>
                  <a:pt x="2929710" y="2546359"/>
                </a:cubicBezTo>
                <a:cubicBezTo>
                  <a:pt x="4483420" y="2546359"/>
                  <a:pt x="5274239" y="1120855"/>
                  <a:pt x="5425294" y="545830"/>
                </a:cubicBezTo>
                <a:lnTo>
                  <a:pt x="5715980" y="680383"/>
                </a:lnTo>
                <a:lnTo>
                  <a:pt x="5860688" y="371926"/>
                </a:lnTo>
                <a:lnTo>
                  <a:pt x="5045752" y="0"/>
                </a:lnTo>
                <a:close/>
              </a:path>
            </a:pathLst>
          </a:custGeom>
          <a:solidFill>
            <a:schemeClr val="accent1"/>
          </a:solidFill>
          <a:ln w="1269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FAF2E-865B-8144-BE35-713D548489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222" y="4343400"/>
            <a:ext cx="8641557" cy="1097280"/>
          </a:xfrm>
          <a:prstGeom prst="rect">
            <a:avLst/>
          </a:prstGeom>
        </p:spPr>
        <p:txBody>
          <a:bodyPr/>
          <a:lstStyle>
            <a:lvl1pPr algn="ctr">
              <a:defRPr sz="4050" b="1">
                <a:solidFill>
                  <a:schemeClr val="bg1"/>
                </a:solidFill>
                <a:latin typeface="Speedee" panose="020B06030305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669361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222" y="1600200"/>
            <a:ext cx="8641557" cy="1828800"/>
          </a:xfrm>
        </p:spPr>
        <p:txBody>
          <a:bodyPr lIns="91440" rIns="91440" anchor="b">
            <a:noAutofit/>
          </a:bodyPr>
          <a:lstStyle>
            <a:lvl1pPr algn="ctr">
              <a:defRPr sz="3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222" y="3429000"/>
            <a:ext cx="8641557" cy="1828800"/>
          </a:xfrm>
        </p:spPr>
        <p:txBody>
          <a:bodyPr lIns="137160" tIns="182880" rIns="137160" bIns="182880" anchor="t" anchorCtr="1"/>
          <a:lstStyle>
            <a:lvl1pPr marL="0" indent="0" algn="l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65281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50625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92032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58513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59200-6A3F-E0BF-BB4D-9B3D4F34D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F16215-FBDC-ECEA-73F0-E4BFC039E5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EF4F3-4FDF-3AE6-F020-14C653A699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C0B34E-E3C1-8DF1-21E5-5C628F919F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249687-AE3A-E005-9093-89CAC05618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E52006-34D3-8078-A124-FAB653C8A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BC6662-F954-28FE-B860-F57F4C282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895294-46A6-1085-F432-1E9F82AE0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5346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74426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>
              <a:solidFill>
                <a:schemeClr val="bg1"/>
              </a:solidFill>
              <a:latin typeface="Speedee" panose="020B0603030502020204" pitchFamily="34" charset="0"/>
              <a:ea typeface="+mj-ea"/>
              <a:cs typeface="+mj-cs"/>
              <a:sym typeface="Speedee" panose="020B06030305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6052" y="6498757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9217292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w/ Pic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4140664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7160952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formation_F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8CDBDBE-CCD7-44B3-831B-04900F3CC1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3189" y="6524119"/>
            <a:ext cx="212559" cy="105285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750" smtClean="0"/>
            </a:lvl1pPr>
          </a:lstStyle>
          <a:p>
            <a:pPr defTabSz="685766">
              <a:lnSpc>
                <a:spcPct val="90000"/>
              </a:lnSpc>
              <a:spcBef>
                <a:spcPts val="1350"/>
              </a:spcBef>
              <a:buSzPct val="95000"/>
            </a:pPr>
            <a:fld id="{EA543DA1-053B-459F-9A3B-E2E644C3A7CD}" type="slidenum">
              <a:rPr lang="en-US" smtClean="0"/>
              <a:pPr defTabSz="685766">
                <a:lnSpc>
                  <a:spcPct val="90000"/>
                </a:lnSpc>
                <a:spcBef>
                  <a:spcPts val="1350"/>
                </a:spcBef>
                <a:buSzPct val="95000"/>
              </a:pPr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5FEC013-04D6-5F48-AEB6-E87E1F38A1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7650" y="1508760"/>
            <a:ext cx="5527460" cy="548640"/>
          </a:xfrm>
        </p:spPr>
        <p:txBody>
          <a:bodyPr lIns="0" tIns="0" rIns="0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8E4A7D3-ABBB-C44A-8721-F783448EE1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4386" y="2304960"/>
            <a:ext cx="5527460" cy="3063875"/>
          </a:xfrm>
        </p:spPr>
        <p:txBody>
          <a:bodyPr lIns="0" tIns="0" rIns="0" bIns="0" anchor="t" anchorCtr="0"/>
          <a:lstStyle>
            <a:lvl1pPr marL="0" indent="0" algn="l">
              <a:lnSpc>
                <a:spcPts val="2100"/>
              </a:lnSpc>
              <a:buFont typeface="Arial" panose="020B0604020202020204" pitchFamily="34" charset="0"/>
              <a:buNone/>
              <a:defRPr sz="1500" baseline="0"/>
            </a:lvl1pPr>
            <a:lvl2pPr marL="259550" indent="0" algn="l">
              <a:buNone/>
              <a:defRPr/>
            </a:lvl2pPr>
            <a:lvl3pPr marL="430995" indent="0" algn="l">
              <a:buNone/>
              <a:defRPr/>
            </a:lvl3pPr>
            <a:lvl4pPr marL="602441" indent="0" algn="l">
              <a:buNone/>
              <a:defRPr/>
            </a:lvl4pPr>
            <a:lvl5pPr marL="773887" indent="0" algn="l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559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4" userDrawn="1">
          <p15:clr>
            <a:srgbClr val="FBAE40"/>
          </p15:clr>
        </p15:guide>
        <p15:guide id="2" pos="7526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bg1"/>
                </a:solidFill>
                <a:latin typeface="Speedee"/>
                <a:cs typeface="Speede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300" b="1" i="0">
                <a:solidFill>
                  <a:schemeClr val="bg1"/>
                </a:solidFill>
                <a:latin typeface="Speedee"/>
                <a:cs typeface="Speedee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02696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A42C494B-DF44-460D-96AA-D8FE036ED6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9982" y="6524118"/>
            <a:ext cx="212559" cy="105285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750" smtClean="0"/>
            </a:lvl1pPr>
          </a:lstStyle>
          <a:p>
            <a:pPr algn="r" defTabSz="685783">
              <a:lnSpc>
                <a:spcPct val="90000"/>
              </a:lnSpc>
              <a:spcBef>
                <a:spcPts val="1350"/>
              </a:spcBef>
              <a:buSzPct val="95000"/>
            </a:pPr>
            <a:fld id="{EA543DA1-053B-459F-9A3B-E2E644C3A7CD}" type="slidenum">
              <a:rPr lang="en-US" smtClean="0"/>
              <a:pPr algn="r" defTabSz="685783">
                <a:lnSpc>
                  <a:spcPct val="90000"/>
                </a:lnSpc>
                <a:spcBef>
                  <a:spcPts val="1350"/>
                </a:spcBef>
                <a:buSzPct val="95000"/>
              </a:pPr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8571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3">
            <a:extLst>
              <a:ext uri="{FF2B5EF4-FFF2-40B4-BE49-F238E27FC236}">
                <a16:creationId xmlns:a16="http://schemas.microsoft.com/office/drawing/2014/main" id="{9F6F5170-03E0-4F11-AD88-551021EC7DEF}"/>
              </a:ext>
            </a:extLst>
          </p:cNvPr>
          <p:cNvSpPr>
            <a:spLocks/>
          </p:cNvSpPr>
          <p:nvPr userDrawn="1"/>
        </p:nvSpPr>
        <p:spPr>
          <a:xfrm>
            <a:off x="5843589" y="0"/>
            <a:ext cx="3299269" cy="685800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2" y="228603"/>
            <a:ext cx="4114800" cy="6400799"/>
          </a:xfrm>
        </p:spPr>
        <p:txBody>
          <a:bodyPr anchor="ctr" anchorCtr="1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BDF2A30-DAEF-4E68-9D46-A16C728E72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74533" b="57798"/>
          <a:stretch/>
        </p:blipFill>
        <p:spPr>
          <a:xfrm>
            <a:off x="5775166" y="914400"/>
            <a:ext cx="3368835" cy="5943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1527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 userDrawn="1">
          <p15:clr>
            <a:srgbClr val="FBAE40"/>
          </p15:clr>
        </p15:guide>
        <p15:guide id="2" orient="horz" pos="778" userDrawn="1">
          <p15:clr>
            <a:srgbClr val="FBAE40"/>
          </p15:clr>
        </p15:guide>
        <p15:guide id="3" orient="horz" pos="4003" userDrawn="1">
          <p15:clr>
            <a:srgbClr val="FBAE40"/>
          </p15:clr>
        </p15:guide>
        <p15:guide id="4" orient="horz" pos="2390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s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62896-193A-460B-BF6E-A72AF2FD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2" y="228603"/>
            <a:ext cx="4114800" cy="6400799"/>
          </a:xfrm>
        </p:spPr>
        <p:txBody>
          <a:bodyPr anchor="ctr" anchorCtr="1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520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05" userDrawn="1">
          <p15:clr>
            <a:srgbClr val="FBAE40"/>
          </p15:clr>
        </p15:guide>
        <p15:guide id="2" orient="horz" pos="778" userDrawn="1">
          <p15:clr>
            <a:srgbClr val="FBAE40"/>
          </p15:clr>
        </p15:guide>
        <p15:guide id="3" orient="horz" pos="4003" userDrawn="1">
          <p15:clr>
            <a:srgbClr val="FBAE40"/>
          </p15:clr>
        </p15:guide>
        <p15:guide id="4" orient="horz" pos="239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B08A7533-4200-3D40-BCCB-44AC4CCA798F}"/>
              </a:ext>
            </a:extLst>
          </p:cNvPr>
          <p:cNvSpPr/>
          <p:nvPr userDrawn="1"/>
        </p:nvSpPr>
        <p:spPr>
          <a:xfrm>
            <a:off x="0" y="3264983"/>
            <a:ext cx="3577590" cy="328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7160" tIns="68580" rIns="137160" bIns="68580" rtlCol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35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C3FCE5A-7B6C-2343-8D77-CD5F92C91B50}"/>
              </a:ext>
            </a:extLst>
          </p:cNvPr>
          <p:cNvGrpSpPr/>
          <p:nvPr userDrawn="1"/>
        </p:nvGrpSpPr>
        <p:grpSpPr>
          <a:xfrm>
            <a:off x="6766560" y="6043700"/>
            <a:ext cx="2377440" cy="814300"/>
            <a:chOff x="8102596" y="6042345"/>
            <a:chExt cx="3351955" cy="86106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F695A50-2A30-FA4A-82A4-5E479CE0F0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255" t="28894" r="1"/>
            <a:stretch/>
          </p:blipFill>
          <p:spPr>
            <a:xfrm rot="5400000">
              <a:off x="10845058" y="5984452"/>
              <a:ext cx="239182" cy="97980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51DA453-A696-CC4F-877A-B3F0C7AF337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-36701" b="80627"/>
            <a:stretch/>
          </p:blipFill>
          <p:spPr>
            <a:xfrm rot="5400000" flipV="1">
              <a:off x="10973646" y="5873859"/>
              <a:ext cx="312418" cy="64939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C9E88B2-5710-5A43-95A9-1EBCDCAB6E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87118" b="87118"/>
            <a:stretch/>
          </p:blipFill>
          <p:spPr>
            <a:xfrm rot="16200000">
              <a:off x="9664302" y="5113159"/>
              <a:ext cx="228542" cy="335195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F363402-425A-4944-8104-1937C489E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3" y="0"/>
            <a:ext cx="3129482" cy="6858000"/>
          </a:xfrm>
        </p:spPr>
        <p:txBody>
          <a:bodyPr/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522A316C-52CF-4124-82E7-165BEA6288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96484" y="6437865"/>
            <a:ext cx="212559" cy="105285"/>
          </a:xfrm>
          <a:prstGeom prst="rect">
            <a:avLst/>
          </a:prstGeom>
        </p:spPr>
        <p:txBody>
          <a:bodyPr wrap="none" lIns="45720" tIns="0" rIns="45720" bIns="0" anchor="b" anchorCtr="0">
            <a:spAutoFit/>
          </a:bodyPr>
          <a:lstStyle>
            <a:lvl1pPr>
              <a:defRPr lang="en-US" sz="750" smtClean="0">
                <a:solidFill>
                  <a:schemeClr val="bg1"/>
                </a:solidFill>
              </a:defRPr>
            </a:lvl1pPr>
          </a:lstStyle>
          <a:p>
            <a:pPr algn="r" defTabSz="685783">
              <a:lnSpc>
                <a:spcPct val="90000"/>
              </a:lnSpc>
              <a:spcBef>
                <a:spcPts val="1350"/>
              </a:spcBef>
              <a:buSzPct val="95000"/>
            </a:pPr>
            <a:fld id="{EA543DA1-053B-459F-9A3B-E2E644C3A7CD}" type="slidenum">
              <a:rPr lang="en-US" smtClean="0"/>
              <a:pPr algn="r" defTabSz="685783">
                <a:lnSpc>
                  <a:spcPct val="90000"/>
                </a:lnSpc>
                <a:spcBef>
                  <a:spcPts val="1350"/>
                </a:spcBef>
                <a:buSzPct val="95000"/>
              </a:pPr>
              <a:t>‹#›</a:t>
            </a:fld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FCA52E5-1743-AB4A-8832-14DC8F14E14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6200000" flipH="1">
            <a:off x="2135124" y="5333607"/>
            <a:ext cx="3090672" cy="20574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9544353-B932-614D-899B-3C788993FD46}"/>
              </a:ext>
            </a:extLst>
          </p:cNvPr>
          <p:cNvSpPr txBox="1"/>
          <p:nvPr userDrawn="1"/>
        </p:nvSpPr>
        <p:spPr>
          <a:xfrm>
            <a:off x="5406200" y="4973786"/>
            <a:ext cx="21993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2B514E5-CD0C-2A49-982A-E046D24B65B8}"/>
              </a:ext>
            </a:extLst>
          </p:cNvPr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4402573" y="1417862"/>
            <a:ext cx="617220" cy="822960"/>
          </a:xfrm>
          <a:prstGeom prst="ellips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txBody>
          <a:bodyPr tIns="182880" bIns="91440" anchor="ctr"/>
          <a:lstStyle>
            <a:lvl1pPr algn="ctr">
              <a:defRPr sz="27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336A4982-EB0A-C341-82CA-37C22D34AED3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4402573" y="2501566"/>
            <a:ext cx="617220" cy="822960"/>
          </a:xfrm>
          <a:prstGeom prst="ellips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txBody>
          <a:bodyPr tIns="182880" bIns="91440" anchor="ctr"/>
          <a:lstStyle>
            <a:lvl1pPr algn="ctr">
              <a:defRPr sz="27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28F93066-CEB1-A345-A74D-395FEDC19851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4402573" y="3585270"/>
            <a:ext cx="617220" cy="822960"/>
          </a:xfrm>
          <a:prstGeom prst="ellips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txBody>
          <a:bodyPr tIns="182880" bIns="91440" anchor="ctr"/>
          <a:lstStyle>
            <a:lvl1pPr algn="ctr">
              <a:defRPr sz="27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C9437BA6-5A35-9245-B478-1D227B78BD2D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402573" y="4668973"/>
            <a:ext cx="617220" cy="822960"/>
          </a:xfrm>
          <a:prstGeom prst="ellips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txBody>
          <a:bodyPr tIns="182880" bIns="91440" anchor="ctr"/>
          <a:lstStyle>
            <a:lvl1pPr algn="ctr">
              <a:defRPr sz="27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C191987-0849-A14D-A5F7-451036D468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7431" y="1417863"/>
            <a:ext cx="3218260" cy="777875"/>
          </a:xfrm>
        </p:spPr>
        <p:txBody>
          <a:bodyPr tIns="182880" anchor="ctr"/>
          <a:lstStyle>
            <a:lvl1pPr algn="l">
              <a:defRPr sz="18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1E0971A9-9775-2044-B76E-E9B4632821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7431" y="2493629"/>
            <a:ext cx="3218260" cy="777875"/>
          </a:xfrm>
        </p:spPr>
        <p:txBody>
          <a:bodyPr tIns="182880" anchor="ctr"/>
          <a:lstStyle>
            <a:lvl1pPr algn="l">
              <a:defRPr sz="18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8759087-5190-4845-9C45-B92AFB38FD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7431" y="3582838"/>
            <a:ext cx="3218260" cy="777875"/>
          </a:xfrm>
        </p:spPr>
        <p:txBody>
          <a:bodyPr tIns="182880" anchor="ctr"/>
          <a:lstStyle>
            <a:lvl1pPr algn="l">
              <a:defRPr sz="18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ACA44030-ED62-334D-AEA3-904319524E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57431" y="4658605"/>
            <a:ext cx="3218260" cy="777875"/>
          </a:xfrm>
        </p:spPr>
        <p:txBody>
          <a:bodyPr tIns="182880" anchor="ctr"/>
          <a:lstStyle>
            <a:lvl1pPr algn="l">
              <a:defRPr sz="18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5629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605" userDrawn="1">
          <p15:clr>
            <a:srgbClr val="FBAE40"/>
          </p15:clr>
        </p15:guide>
        <p15:guide id="2" orient="horz" pos="778" userDrawn="1">
          <p15:clr>
            <a:srgbClr val="FBAE40"/>
          </p15:clr>
        </p15:guide>
        <p15:guide id="3" orient="horz" pos="4003" userDrawn="1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C48785-18B7-6C32-9892-ACA7B63C9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A1209A-861C-4294-E4DB-CE6390B31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696343-8FDB-0DB2-CB33-640DE3BC4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192134-5522-2191-8E82-D2D49A0BB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960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179F85-40CD-4064-8D10-05F347CE0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396DEAC-5F77-40E1-8B66-0712E0C9F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67DC4B15-1023-48B8-A1A3-77E2AC1A2EFB}" type="datetimeFigureOut">
              <a:rPr lang="en-US" sz="1350" smtClean="0">
                <a:solidFill>
                  <a:srgbClr val="000000"/>
                </a:solidFill>
              </a:rPr>
              <a:pPr defTabSz="685800">
                <a:defRPr/>
              </a:pPr>
              <a:t>1/20/2025</a:t>
            </a:fld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5FA748-B24D-460A-AECF-09C3BFA1A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331D54-AB67-4F1C-BFEB-9A86B5685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3AE78DE8-1798-4CAA-995F-D5447BA8D2D8}" type="slidenum">
              <a:rPr lang="en-US" sz="1350" smtClean="0">
                <a:solidFill>
                  <a:srgbClr val="000000"/>
                </a:solidFill>
              </a:rPr>
              <a:pPr defTabSz="685800">
                <a:defRPr/>
              </a:pPr>
              <a:t>‹#›</a:t>
            </a:fld>
            <a:endParaRPr lang="en-US" sz="13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7873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alfs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>
          <a:xfrm>
            <a:off x="4880373" y="960441"/>
            <a:ext cx="1920478" cy="2560637"/>
          </a:xfrm>
          <a:solidFill>
            <a:srgbClr val="A5A59E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2"/>
          </p:nvPr>
        </p:nvSpPr>
        <p:spPr>
          <a:xfrm>
            <a:off x="6972300" y="960441"/>
            <a:ext cx="1920478" cy="2560637"/>
          </a:xfrm>
          <a:solidFill>
            <a:srgbClr val="A5A59E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3"/>
          </p:nvPr>
        </p:nvSpPr>
        <p:spPr>
          <a:xfrm>
            <a:off x="6972300" y="3749043"/>
            <a:ext cx="1920478" cy="2560637"/>
          </a:xfrm>
          <a:solidFill>
            <a:srgbClr val="A5A59E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880610" y="3749043"/>
            <a:ext cx="1920478" cy="2560637"/>
          </a:xfrm>
          <a:solidFill>
            <a:srgbClr val="A5A59E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51222" y="1189041"/>
            <a:ext cx="3943350" cy="5165725"/>
          </a:xfrm>
        </p:spPr>
        <p:txBody>
          <a:bodyPr anchor="ctr"/>
          <a:lstStyle>
            <a:lvl1pPr marL="0" indent="0">
              <a:buNone/>
              <a:defRPr/>
            </a:lvl1pPr>
            <a:lvl2pPr marL="213122" indent="0">
              <a:buNone/>
              <a:defRPr/>
            </a:lvl2pPr>
            <a:lvl3pPr marL="428625" indent="0">
              <a:buNone/>
              <a:defRPr/>
            </a:lvl3pPr>
            <a:lvl4pPr marL="600075" indent="0">
              <a:buNone/>
              <a:defRPr/>
            </a:lvl4pPr>
            <a:lvl5pPr marL="770334" indent="0">
              <a:buFont typeface="Arial"/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0ADE8B39-F43E-42EE-87EF-B06A8D8CE5A0}"/>
              </a:ext>
            </a:extLst>
          </p:cNvPr>
          <p:cNvSpPr txBox="1">
            <a:spLocks/>
          </p:cNvSpPr>
          <p:nvPr userDrawn="1"/>
        </p:nvSpPr>
        <p:spPr>
          <a:xfrm>
            <a:off x="251461" y="6643910"/>
            <a:ext cx="1699790" cy="10772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685673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38" algn="l" defTabSz="685673" rtl="0" eaLnBrk="1" latinLnBrk="0" hangingPunct="1"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73" algn="l" defTabSz="685673" rtl="0" eaLnBrk="1" latinLnBrk="0" hangingPunct="1"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512" algn="l" defTabSz="685673" rtl="0" eaLnBrk="1" latinLnBrk="0" hangingPunct="1"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348" algn="l" defTabSz="685673" rtl="0" eaLnBrk="1" latinLnBrk="0" hangingPunct="1"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186" algn="l" defTabSz="685673" rtl="0" eaLnBrk="1" latinLnBrk="0" hangingPunct="1"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022" algn="l" defTabSz="685673" rtl="0" eaLnBrk="1" latinLnBrk="0" hangingPunct="1"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860" algn="l" defTabSz="685673" rtl="0" eaLnBrk="1" latinLnBrk="0" hangingPunct="1"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698" algn="l" defTabSz="685673" rtl="0" eaLnBrk="1" latinLnBrk="0" hangingPunct="1">
              <a:defRPr sz="13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>
                <a:solidFill>
                  <a:schemeClr val="bg2">
                    <a:lumMod val="75000"/>
                  </a:schemeClr>
                </a:solidFill>
                <a:latin typeface="Speedee" panose="020B0603030502020204" pitchFamily="34" charset="0"/>
              </a:rPr>
              <a:t>© McDonald’s 2020  – </a:t>
            </a:r>
            <a:r>
              <a:rPr lang="en-US" sz="700" baseline="0">
                <a:solidFill>
                  <a:schemeClr val="bg2">
                    <a:lumMod val="75000"/>
                  </a:schemeClr>
                </a:solidFill>
                <a:latin typeface="Speedee" panose="020B0603030502020204" pitchFamily="34" charset="0"/>
              </a:rPr>
              <a:t> </a:t>
            </a:r>
            <a:r>
              <a:rPr lang="en-US" sz="700">
                <a:solidFill>
                  <a:schemeClr val="bg2">
                    <a:lumMod val="75000"/>
                  </a:schemeClr>
                </a:solidFill>
                <a:latin typeface="Speedee" panose="020B0603030502020204" pitchFamily="34" charset="0"/>
              </a:rPr>
              <a:t>confidential</a:t>
            </a:r>
          </a:p>
        </p:txBody>
      </p:sp>
      <p:sp>
        <p:nvSpPr>
          <p:cNvPr id="9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6766560" y="65379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bg2">
                    <a:lumMod val="75000"/>
                  </a:schemeClr>
                </a:solidFill>
                <a:latin typeface="Speedee Regular"/>
                <a:cs typeface="Speedee Regular"/>
              </a:defRPr>
            </a:lvl1pPr>
          </a:lstStyle>
          <a:p>
            <a:fld id="{3362CB33-2C31-FE4E-8CBF-BB3953CACFF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Fußzeilenplatzhalter 25"/>
          <p:cNvSpPr>
            <a:spLocks noGrp="1"/>
          </p:cNvSpPr>
          <p:nvPr>
            <p:ph type="ftr" sz="quarter" idx="3"/>
          </p:nvPr>
        </p:nvSpPr>
        <p:spPr>
          <a:xfrm>
            <a:off x="3124200" y="653796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Titel der Präsentation/Abteilung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731BD5B-F406-46EA-AAC6-D06E52ED93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4" y="228600"/>
            <a:ext cx="8641556" cy="73183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cxnSp>
        <p:nvCxnSpPr>
          <p:cNvPr id="29" name="Straight Connector 14">
            <a:extLst>
              <a:ext uri="{FF2B5EF4-FFF2-40B4-BE49-F238E27FC236}">
                <a16:creationId xmlns:a16="http://schemas.microsoft.com/office/drawing/2014/main" id="{6F2E3DDC-4E72-4A65-A0FF-970D9FED665C}"/>
              </a:ext>
            </a:extLst>
          </p:cNvPr>
          <p:cNvCxnSpPr>
            <a:cxnSpLocks/>
          </p:cNvCxnSpPr>
          <p:nvPr userDrawn="1"/>
        </p:nvCxnSpPr>
        <p:spPr>
          <a:xfrm>
            <a:off x="320040" y="960120"/>
            <a:ext cx="3086100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8500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aphic 3">
            <a:extLst>
              <a:ext uri="{FF2B5EF4-FFF2-40B4-BE49-F238E27FC236}">
                <a16:creationId xmlns:a16="http://schemas.microsoft.com/office/drawing/2014/main" id="{4D4F4101-10C5-4019-90A9-11F504117E2C}"/>
              </a:ext>
            </a:extLst>
          </p:cNvPr>
          <p:cNvSpPr>
            <a:spLocks/>
          </p:cNvSpPr>
          <p:nvPr/>
        </p:nvSpPr>
        <p:spPr>
          <a:xfrm>
            <a:off x="1143" y="6263640"/>
            <a:ext cx="9141714" cy="594360"/>
          </a:xfrm>
          <a:custGeom>
            <a:avLst/>
            <a:gdLst>
              <a:gd name="connsiteX0" fmla="*/ 0 w 9142095"/>
              <a:gd name="connsiteY0" fmla="*/ 0 h 451485"/>
              <a:gd name="connsiteX1" fmla="*/ 9142095 w 9142095"/>
              <a:gd name="connsiteY1" fmla="*/ 0 h 451485"/>
              <a:gd name="connsiteX2" fmla="*/ 9142095 w 9142095"/>
              <a:gd name="connsiteY2" fmla="*/ 451485 h 451485"/>
              <a:gd name="connsiteX3" fmla="*/ 0 w 9142095"/>
              <a:gd name="connsiteY3" fmla="*/ 451485 h 45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2095" h="451485">
                <a:moveTo>
                  <a:pt x="0" y="0"/>
                </a:moveTo>
                <a:lnTo>
                  <a:pt x="9142095" y="0"/>
                </a:lnTo>
                <a:lnTo>
                  <a:pt x="9142095" y="451485"/>
                </a:lnTo>
                <a:lnTo>
                  <a:pt x="0" y="45148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>
              <a:solidFill>
                <a:srgbClr val="000000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67B3453-D9F6-43AF-B722-4CCF6B26F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-1" r="35592" b="23725"/>
          <a:stretch/>
        </p:blipFill>
        <p:spPr>
          <a:xfrm>
            <a:off x="4034792" y="416321"/>
            <a:ext cx="5109209" cy="64416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3CEA60-CDC2-4B29-9547-7FF4BAAAD1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460" y="228600"/>
            <a:ext cx="4320540" cy="3200400"/>
          </a:xfrm>
        </p:spPr>
        <p:txBody>
          <a:bodyPr lIns="91440" rIns="91440" anchor="b">
            <a:noAutofit/>
          </a:bodyPr>
          <a:lstStyle>
            <a:lvl1pPr algn="l"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034AC8-C001-49F4-B3CA-B1903AA70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460" y="3429002"/>
            <a:ext cx="4320540" cy="3200399"/>
          </a:xfrm>
        </p:spPr>
        <p:txBody>
          <a:bodyPr lIns="137160" tIns="182880" rIns="137160" bIns="182880"/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9080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2BAC55E-CFDF-2378-6210-84C94ABA9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9B5AD7-931F-E9BA-E39B-D68D3D89D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EDF9AF-DF1F-D095-2B3D-EE9011FA9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6548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EE86DE-DE64-3C1F-280F-D7C04A87A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BCE3B8-8391-4905-E7CC-62E1685F9A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8C7D91-9B88-FD86-774E-38FC9DE65B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8002C5-3B5F-6804-CED3-A633BFABA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82EC0D-E17A-F947-39A9-1B7801625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74C92D-97D0-D653-8ECF-125EDF7D50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255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4E539-F9E9-B909-0599-97594F448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2B6A4F-B501-29FF-3E04-E6D9BBC002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94620F-41BA-9C47-D32A-5804B72C3F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B4EC15-044D-C0EE-7640-E902172FC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05A91-A933-3954-09B4-F32EF2D7A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1F8306-BEE8-974B-85DD-1972D85E9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730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EC88BFE-3BE8-81C2-D005-046D4239C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780147-549B-52BB-D4E4-2A8D1FDF64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18A100-9DEA-F59E-C79F-009CF48930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788457-9DDE-4FF7-88CD-2A31A9845777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5A4D37-1309-76A8-E948-1ACC3A24D0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06F523-71EB-6A71-D660-C0EE5B77AC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3AF0AF-5111-468A-9560-16FF85C118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94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#">
            <a:extLst>
              <a:ext uri="{FF2B5EF4-FFF2-40B4-BE49-F238E27FC236}">
                <a16:creationId xmlns:a16="http://schemas.microsoft.com/office/drawing/2014/main" id="{7A0AC045-B0D9-4E25-91F7-9CC620BECAD4}"/>
              </a:ext>
            </a:extLst>
          </p:cNvPr>
          <p:cNvSpPr txBox="1"/>
          <p:nvPr userDrawn="1"/>
        </p:nvSpPr>
        <p:spPr>
          <a:xfrm>
            <a:off x="8772315" y="6527381"/>
            <a:ext cx="120226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>
            <a:defPPr>
              <a:defRPr lang="en-US"/>
            </a:defPPr>
            <a:lvl1pPr algn="r">
              <a:lnSpc>
                <a:spcPct val="90000"/>
              </a:lnSpc>
              <a:spcBef>
                <a:spcPts val="600"/>
              </a:spcBef>
              <a:defRPr sz="1000"/>
            </a:lvl1pPr>
          </a:lstStyle>
          <a:p>
            <a:pPr lvl="0"/>
            <a:fld id="{25589270-315C-446D-8A4F-4844CE0CD1EA}" type="slidenum">
              <a:rPr lang="en-US" sz="750" smtClean="0"/>
              <a:pPr lvl="0"/>
              <a:t>‹#›</a:t>
            </a:fld>
            <a:endParaRPr lang="en-US" sz="750"/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5D60C56C-6A14-43BE-BFEF-358E6A64CC62}"/>
              </a:ext>
            </a:extLst>
          </p:cNvPr>
          <p:cNvSpPr txBox="1"/>
          <p:nvPr userDrawn="1"/>
        </p:nvSpPr>
        <p:spPr>
          <a:xfrm>
            <a:off x="251461" y="6527381"/>
            <a:ext cx="617157" cy="105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l">
              <a:lnSpc>
                <a:spcPct val="90000"/>
              </a:lnSpc>
              <a:spcBef>
                <a:spcPts val="450"/>
              </a:spcBef>
            </a:pPr>
            <a:r>
              <a:rPr lang="en-US" sz="750"/>
              <a:t>© McDonald’s 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BA985D98-3239-4503-8D46-06AE345F49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1224" y="1143000"/>
            <a:ext cx="8641556" cy="5120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66EA084-203F-4328-9093-8ED05ED87A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224" y="228601"/>
            <a:ext cx="8641556" cy="640080"/>
          </a:xfrm>
          <a:prstGeom prst="rect">
            <a:avLst/>
          </a:prstGeom>
        </p:spPr>
        <p:txBody>
          <a:bodyPr vert="horz" lIns="0" tIns="45720" rIns="0" bIns="0" rtlCol="0" anchor="ctr">
            <a:noAutofit/>
          </a:bodyPr>
          <a:lstStyle/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lide</a:t>
            </a:r>
          </a:p>
        </p:txBody>
      </p:sp>
    </p:spTree>
    <p:custDataLst>
      <p:tags r:id="rId53"/>
    </p:custDataLst>
    <p:extLst>
      <p:ext uri="{BB962C8B-B14F-4D97-AF65-F5344CB8AC3E}">
        <p14:creationId xmlns:p14="http://schemas.microsoft.com/office/powerpoint/2010/main" val="2731276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  <p:sldLayoutId id="2147483717" r:id="rId33"/>
    <p:sldLayoutId id="2147483718" r:id="rId34"/>
    <p:sldLayoutId id="2147483719" r:id="rId35"/>
    <p:sldLayoutId id="2147483720" r:id="rId36"/>
    <p:sldLayoutId id="2147483721" r:id="rId37"/>
    <p:sldLayoutId id="2147483722" r:id="rId38"/>
    <p:sldLayoutId id="2147483723" r:id="rId39"/>
    <p:sldLayoutId id="2147483724" r:id="rId40"/>
    <p:sldLayoutId id="2147483725" r:id="rId41"/>
    <p:sldLayoutId id="2147483726" r:id="rId42"/>
    <p:sldLayoutId id="2147483727" r:id="rId43"/>
    <p:sldLayoutId id="2147483728" r:id="rId44"/>
    <p:sldLayoutId id="2147483729" r:id="rId45"/>
    <p:sldLayoutId id="2147483730" r:id="rId46"/>
    <p:sldLayoutId id="2147483731" r:id="rId47"/>
    <p:sldLayoutId id="2147483732" r:id="rId48"/>
    <p:sldLayoutId id="2147483733" r:id="rId49"/>
    <p:sldLayoutId id="2147483734" r:id="rId50"/>
    <p:sldLayoutId id="2147483735" r:id="rId51"/>
  </p:sldLayoutIdLst>
  <p:transition>
    <p:fade/>
  </p:transition>
  <p:hf hdr="0" ftr="0" dt="0"/>
  <p:txStyles>
    <p:titleStyle>
      <a:lvl1pPr algn="l" defTabSz="685800" rtl="0" eaLnBrk="1" latinLnBrk="0" hangingPunct="1">
        <a:lnSpc>
          <a:spcPct val="80000"/>
        </a:lnSpc>
        <a:spcBef>
          <a:spcPts val="450"/>
        </a:spcBef>
        <a:buNone/>
        <a:defRPr sz="187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0969" indent="-130969" algn="l" defTabSz="685800" rtl="0" eaLnBrk="1" latinLnBrk="0" hangingPunct="1">
        <a:lnSpc>
          <a:spcPct val="90000"/>
        </a:lnSpc>
        <a:spcBef>
          <a:spcPts val="1350"/>
        </a:spcBef>
        <a:buClr>
          <a:schemeClr val="accent2"/>
        </a:buClr>
        <a:buSzPct val="85000"/>
        <a:buFont typeface="Symbol" panose="05050102010706020507" pitchFamily="18" charset="2"/>
        <a:buChar char="·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86954" indent="-173831" algn="l" defTabSz="685800" rtl="0" eaLnBrk="1" latinLnBrk="0" hangingPunct="1">
        <a:lnSpc>
          <a:spcPct val="90000"/>
        </a:lnSpc>
        <a:spcBef>
          <a:spcPts val="150"/>
        </a:spcBef>
        <a:buClr>
          <a:schemeClr val="accent2"/>
        </a:buClr>
        <a:buFont typeface="Speedee" panose="020B06030305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554831" indent="-126206" algn="l" defTabSz="685800" rtl="0" eaLnBrk="1" latinLnBrk="0" hangingPunct="1">
        <a:lnSpc>
          <a:spcPct val="90000"/>
        </a:lnSpc>
        <a:spcBef>
          <a:spcPts val="150"/>
        </a:spcBef>
        <a:buClr>
          <a:schemeClr val="tx2"/>
        </a:buClr>
        <a:buSzPct val="85000"/>
        <a:buFont typeface="Symbol" panose="05050102010706020507" pitchFamily="18" charset="2"/>
        <a:buChar char="·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729854" indent="-129779" algn="l" defTabSz="685800" rtl="0" eaLnBrk="1" latinLnBrk="0" hangingPunct="1">
        <a:lnSpc>
          <a:spcPct val="90000"/>
        </a:lnSpc>
        <a:spcBef>
          <a:spcPts val="150"/>
        </a:spcBef>
        <a:buClr>
          <a:schemeClr val="accent2"/>
        </a:buClr>
        <a:buFont typeface="Speedee" panose="020B06030305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97731" indent="-127397" algn="l" defTabSz="685800" rtl="0" eaLnBrk="1" latinLnBrk="0" hangingPunct="1">
        <a:lnSpc>
          <a:spcPct val="90000"/>
        </a:lnSpc>
        <a:spcBef>
          <a:spcPts val="150"/>
        </a:spcBef>
        <a:buClr>
          <a:schemeClr val="accent2"/>
        </a:buClr>
        <a:buFont typeface="Speedee" panose="020B06030305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pos="1910" userDrawn="1">
          <p15:clr>
            <a:srgbClr val="F26B43"/>
          </p15:clr>
        </p15:guide>
        <p15:guide id="5" pos="5770" userDrawn="1">
          <p15:clr>
            <a:srgbClr val="F26B43"/>
          </p15:clr>
        </p15:guide>
        <p15:guide id="7" orient="horz" pos="144" userDrawn="1">
          <p15:clr>
            <a:srgbClr val="F26B43"/>
          </p15:clr>
        </p15:guide>
        <p15:guide id="8" orient="horz" pos="4176" userDrawn="1">
          <p15:clr>
            <a:srgbClr val="F26B43"/>
          </p15:clr>
        </p15:guide>
        <p15:guide id="11" orient="horz" pos="1440" userDrawn="1">
          <p15:clr>
            <a:srgbClr val="F26B43"/>
          </p15:clr>
        </p15:guide>
        <p15:guide id="12" orient="horz" pos="2880" userDrawn="1">
          <p15:clr>
            <a:srgbClr val="F26B43"/>
          </p15:clr>
        </p15:guide>
        <p15:guide id="13" orient="horz" pos="2160" userDrawn="1">
          <p15:clr>
            <a:srgbClr val="F26B43"/>
          </p15:clr>
        </p15:guide>
        <p15:guide id="14" orient="horz" pos="39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0FF80BC-24A3-E703-FC37-B712F8DBAE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C995310D-B246-C4EB-7B98-F98138F51B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082B390C-8EAF-D8F8-58C2-7BC4A89DA1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43" t="25901" r="67941" b="24773"/>
          <a:stretch/>
        </p:blipFill>
        <p:spPr>
          <a:xfrm>
            <a:off x="7162238" y="1414078"/>
            <a:ext cx="1377302" cy="1350800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D377BC10-284B-CEB1-4353-E839A69DF0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AAB3989-2884-E607-1100-5221034DA2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4E53E6-652E-CE9E-8C81-69E023695D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326" y="1541706"/>
            <a:ext cx="5907032" cy="2046616"/>
          </a:xfrm>
        </p:spPr>
        <p:txBody>
          <a:bodyPr anchor="t">
            <a:normAutofit fontScale="90000"/>
          </a:bodyPr>
          <a:lstStyle/>
          <a:p>
            <a:pPr algn="l"/>
            <a:r>
              <a:rPr lang="en-US" sz="5300" b="1" dirty="0"/>
              <a:t>Room #3</a:t>
            </a:r>
            <a:br>
              <a:rPr lang="en-US" sz="6000" b="1" dirty="0"/>
            </a:br>
            <a:r>
              <a:rPr lang="en-US" sz="5400" dirty="0"/>
              <a:t>Creating Compelling</a:t>
            </a:r>
            <a:br>
              <a:rPr lang="en-US" sz="5400" dirty="0"/>
            </a:br>
            <a:r>
              <a:rPr lang="en-US" sz="5400" dirty="0"/>
              <a:t>Chapter Meetings</a:t>
            </a:r>
            <a:endParaRPr lang="en-US" sz="60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463BAB-D00F-B139-41D5-D5A7113A244C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>
              <a:defRPr/>
            </a:pPr>
            <a:r>
              <a:rPr lang="en-US" sz="27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>
              <a:defRPr/>
            </a:pPr>
            <a:r>
              <a:rPr lang="en-US" sz="21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>
              <a:defRPr/>
            </a:pPr>
            <a:r>
              <a:rPr lang="en-US" sz="27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7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9798FCE-9B8D-ADEC-AE2A-9D9251AE3AE0}"/>
              </a:ext>
            </a:extLst>
          </p:cNvPr>
          <p:cNvSpPr txBox="1">
            <a:spLocks/>
          </p:cNvSpPr>
          <p:nvPr/>
        </p:nvSpPr>
        <p:spPr>
          <a:xfrm>
            <a:off x="1042301" y="3870363"/>
            <a:ext cx="2532279" cy="1146362"/>
          </a:xfrm>
          <a:prstGeom prst="rect">
            <a:avLst/>
          </a:prstGeom>
        </p:spPr>
        <p:txBody>
          <a:bodyPr vert="horz" lIns="68580" tIns="34290" rIns="68580" bIns="34290" rtlCol="0" anchor="t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>
              <a:spcBef>
                <a:spcPts val="750"/>
              </a:spcBef>
            </a:pPr>
            <a:r>
              <a:rPr lang="en-US" sz="1800" b="1" dirty="0">
                <a:solidFill>
                  <a:prstClr val="black"/>
                </a:solidFill>
                <a:latin typeface="Calibri" panose="020F0502020204030204"/>
              </a:rPr>
              <a:t>Bruce Sellnow</a:t>
            </a:r>
          </a:p>
          <a:p>
            <a:pPr algn="l" defTabSz="685800">
              <a:spcBef>
                <a:spcPts val="750"/>
              </a:spcBef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VP Chapter Support &amp;</a:t>
            </a:r>
          </a:p>
          <a:p>
            <a:pPr algn="l" defTabSz="685800">
              <a:spcBef>
                <a:spcPts val="750"/>
              </a:spcBef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   Leadership Training</a:t>
            </a:r>
          </a:p>
          <a:p>
            <a:pPr algn="l" defTabSz="685800">
              <a:spcBef>
                <a:spcPts val="750"/>
              </a:spcBef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Rocky Mountain District</a:t>
            </a:r>
          </a:p>
        </p:txBody>
      </p:sp>
    </p:spTree>
    <p:extLst>
      <p:ext uri="{BB962C8B-B14F-4D97-AF65-F5344CB8AC3E}">
        <p14:creationId xmlns:p14="http://schemas.microsoft.com/office/powerpoint/2010/main" val="24013204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9" y="2423067"/>
            <a:ext cx="6099300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orus Rehears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Music Team owns this…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Life Cycle of a Song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Sectional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Riser Formation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en-US" sz="28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ceOffs</a:t>
            </a: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Tag Quartets,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1" y="1432226"/>
            <a:ext cx="8305992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ing the Plan: Rehearsa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6287D1-A9D9-9B61-5BFC-6722118826B8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942DF7A8-CA80-8AD4-1CB8-0116F60CB052}"/>
              </a:ext>
            </a:extLst>
          </p:cNvPr>
          <p:cNvSpPr txBox="1">
            <a:spLocks/>
          </p:cNvSpPr>
          <p:nvPr/>
        </p:nvSpPr>
        <p:spPr>
          <a:xfrm>
            <a:off x="192972" y="570984"/>
            <a:ext cx="8602123" cy="6245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/>
              <a:t>ROOM #3: </a:t>
            </a:r>
            <a:r>
              <a:rPr lang="en-US" sz="3200"/>
              <a:t>Creating Compelling Chapter Meeting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19143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9" y="2423067"/>
            <a:ext cx="5033685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pter Quartet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g Quartet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neup Quartet </a:t>
            </a:r>
            <a:r>
              <a:rPr lang="en-US" sz="2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clap or snap)</a:t>
            </a:r>
            <a:endParaRPr lang="en-US" sz="28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gs!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adership Updat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1" y="1432226"/>
            <a:ext cx="8305992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ing the Plan: Activiti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6287D1-A9D9-9B61-5BFC-6722118826B8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EE182FE6-38DA-1A6D-FE4B-5752E47A5048}"/>
              </a:ext>
            </a:extLst>
          </p:cNvPr>
          <p:cNvSpPr txBox="1">
            <a:spLocks/>
          </p:cNvSpPr>
          <p:nvPr/>
        </p:nvSpPr>
        <p:spPr>
          <a:xfrm>
            <a:off x="192972" y="570984"/>
            <a:ext cx="8602123" cy="6245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/>
              <a:t>ROOM #3: </a:t>
            </a:r>
            <a:r>
              <a:rPr lang="en-US" sz="3200"/>
              <a:t>Creating Compelling Chapter Meeting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02529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9" y="2423067"/>
            <a:ext cx="6341879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ew each Meeting (Huddle or Call)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</a:t>
            </a:r>
            <a:r>
              <a:rPr lang="en-US" sz="28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worked? What didn’t?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 Next Week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municate to Member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endParaRPr lang="en-US" sz="2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n’t get bored with Success!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1" y="1432226"/>
            <a:ext cx="8305992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ecute the Plan: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6287D1-A9D9-9B61-5BFC-6722118826B8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8C9B474-80A5-CC9E-3BDE-9DFDF4D1B5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2972" y="570984"/>
            <a:ext cx="8602123" cy="624506"/>
          </a:xfrm>
        </p:spPr>
        <p:txBody>
          <a:bodyPr anchor="t">
            <a:noAutofit/>
          </a:bodyPr>
          <a:lstStyle/>
          <a:p>
            <a:pPr algn="l"/>
            <a:r>
              <a:rPr lang="en-US" sz="3200" b="1" dirty="0"/>
              <a:t>ROOM #3: </a:t>
            </a:r>
            <a:r>
              <a:rPr lang="en-US" sz="3200" dirty="0"/>
              <a:t>Creating Compelling Chapter Meetings</a:t>
            </a:r>
          </a:p>
        </p:txBody>
      </p:sp>
    </p:spTree>
    <p:extLst>
      <p:ext uri="{BB962C8B-B14F-4D97-AF65-F5344CB8AC3E}">
        <p14:creationId xmlns:p14="http://schemas.microsoft.com/office/powerpoint/2010/main" val="4007536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43" t="25901" r="67941" b="24773"/>
          <a:stretch/>
        </p:blipFill>
        <p:spPr>
          <a:xfrm>
            <a:off x="6846740" y="1414078"/>
            <a:ext cx="1692800" cy="1660226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DA1550-D397-FD87-7CCD-3C035D554E1B}"/>
              </a:ext>
            </a:extLst>
          </p:cNvPr>
          <p:cNvSpPr txBox="1">
            <a:spLocks/>
          </p:cNvSpPr>
          <p:nvPr/>
        </p:nvSpPr>
        <p:spPr>
          <a:xfrm>
            <a:off x="3034701" y="2845338"/>
            <a:ext cx="4153301" cy="1313360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/>
            <a:r>
              <a:rPr lang="en-US" sz="4500" dirty="0">
                <a:solidFill>
                  <a:prstClr val="black"/>
                </a:solidFill>
                <a:latin typeface="Calibri Light" panose="020F0302020204030204"/>
              </a:rPr>
              <a:t>Questions and</a:t>
            </a:r>
          </a:p>
          <a:p>
            <a:pPr algn="l" defTabSz="685800"/>
            <a:r>
              <a:rPr lang="en-US" sz="4500" dirty="0">
                <a:solidFill>
                  <a:prstClr val="black"/>
                </a:solidFill>
                <a:latin typeface="Calibri Light" panose="020F0302020204030204"/>
              </a:rPr>
              <a:t>Open Discussio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C214E2-1026-D233-3A14-F76411643829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7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1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7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7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F086E88-7151-D16F-E267-C5823BFE0DA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151" y="1860705"/>
            <a:ext cx="2838595" cy="2601222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9DD0C23-53B5-2810-E54C-EBA223128553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6056FD45-B58B-46C4-F4F8-73BE618250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2972" y="570984"/>
            <a:ext cx="8602123" cy="624506"/>
          </a:xfrm>
        </p:spPr>
        <p:txBody>
          <a:bodyPr anchor="t">
            <a:noAutofit/>
          </a:bodyPr>
          <a:lstStyle/>
          <a:p>
            <a:pPr algn="l"/>
            <a:r>
              <a:rPr lang="en-US" sz="3200" b="1" dirty="0"/>
              <a:t>ROOM #3: </a:t>
            </a:r>
            <a:r>
              <a:rPr lang="en-US" sz="3200" dirty="0"/>
              <a:t>Creating Compelling Chapter Meetings</a:t>
            </a:r>
          </a:p>
        </p:txBody>
      </p:sp>
    </p:spTree>
    <p:extLst>
      <p:ext uri="{BB962C8B-B14F-4D97-AF65-F5344CB8AC3E}">
        <p14:creationId xmlns:p14="http://schemas.microsoft.com/office/powerpoint/2010/main" val="33448690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4CF9DA-C2A1-5C4E-69D6-44C46594C2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8" y="2423067"/>
            <a:ext cx="6874022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are you here?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endParaRPr lang="en-US" sz="2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do you want to learn today?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EDCC15-C2D8-A1FB-BB39-3BAEE9F2F5DC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B87C9D31-7E93-BEC0-4659-25FBEBC88CA5}"/>
              </a:ext>
            </a:extLst>
          </p:cNvPr>
          <p:cNvSpPr txBox="1">
            <a:spLocks/>
          </p:cNvSpPr>
          <p:nvPr/>
        </p:nvSpPr>
        <p:spPr>
          <a:xfrm>
            <a:off x="489102" y="1432226"/>
            <a:ext cx="6390164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ine “Success…”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B728AB-CE40-3AE1-8DD0-F24CB19D34B8}"/>
              </a:ext>
            </a:extLst>
          </p:cNvPr>
          <p:cNvSpPr txBox="1">
            <a:spLocks/>
          </p:cNvSpPr>
          <p:nvPr/>
        </p:nvSpPr>
        <p:spPr>
          <a:xfrm>
            <a:off x="192972" y="570984"/>
            <a:ext cx="8602123" cy="6245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/>
              <a:t>ROOM #3: </a:t>
            </a:r>
            <a:r>
              <a:rPr lang="en-US" sz="3200"/>
              <a:t>Creating Compelling Chapter Meeting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563161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B565D0B-6F98-31BC-3705-AF3A121AD0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2972" y="570984"/>
            <a:ext cx="8602123" cy="624506"/>
          </a:xfrm>
        </p:spPr>
        <p:txBody>
          <a:bodyPr anchor="t">
            <a:noAutofit/>
          </a:bodyPr>
          <a:lstStyle/>
          <a:p>
            <a:pPr algn="l"/>
            <a:r>
              <a:rPr lang="en-US" sz="3200" b="1" dirty="0"/>
              <a:t>ROOM #3: </a:t>
            </a:r>
            <a:r>
              <a:rPr lang="en-US" sz="3200" dirty="0"/>
              <a:t>Creating Compelling Chapter Meetings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8" y="2423067"/>
            <a:ext cx="6874022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 kind of chapter are you?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do Members join your chapter?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y do they come back every week?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endParaRPr lang="en-US" sz="2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3" y="1432226"/>
            <a:ext cx="6778153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ies: Decision Logic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0FD29B-9867-6358-89F7-739D9894C5DC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90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EC3DAD5-BF7D-9B01-2AE5-A22F7E460F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7303"/>
          <a:stretch/>
        </p:blipFill>
        <p:spPr>
          <a:xfrm>
            <a:off x="-1373502" y="0"/>
            <a:ext cx="11675742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FFCAD8-C781-5E3E-85A0-F35279D8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12393" y="5724019"/>
            <a:ext cx="145233" cy="105285"/>
          </a:xfrm>
        </p:spPr>
        <p:txBody>
          <a:bodyPr/>
          <a:lstStyle/>
          <a:p>
            <a:pPr defTabSz="685766">
              <a:lnSpc>
                <a:spcPct val="90000"/>
              </a:lnSpc>
              <a:spcBef>
                <a:spcPts val="1350"/>
              </a:spcBef>
              <a:buSzPct val="95000"/>
            </a:pPr>
            <a:fld id="{EA543DA1-053B-459F-9A3B-E2E644C3A7CD}" type="slidenum">
              <a:rPr lang="en-US">
                <a:solidFill>
                  <a:srgbClr val="000000"/>
                </a:solidFill>
                <a:latin typeface="Speedee"/>
              </a:rPr>
              <a:pPr defTabSz="685766">
                <a:lnSpc>
                  <a:spcPct val="90000"/>
                </a:lnSpc>
                <a:spcBef>
                  <a:spcPts val="1350"/>
                </a:spcBef>
                <a:buSzPct val="95000"/>
              </a:pPr>
              <a:t>4</a:t>
            </a:fld>
            <a:endParaRPr lang="en-US">
              <a:solidFill>
                <a:srgbClr val="000000"/>
              </a:solidFill>
              <a:latin typeface="Speedee"/>
            </a:endParaRPr>
          </a:p>
        </p:txBody>
      </p:sp>
    </p:spTree>
    <p:extLst>
      <p:ext uri="{BB962C8B-B14F-4D97-AF65-F5344CB8AC3E}">
        <p14:creationId xmlns:p14="http://schemas.microsoft.com/office/powerpoint/2010/main" val="192496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8" y="2423067"/>
            <a:ext cx="6874022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dicate a Rehearsal Night: 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nounce ahead of time as a pivotal night for your chapter and you need everyone present if possible.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endParaRPr lang="en-US" sz="2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k the questions…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o do we want to be?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 do we want to be known in our community?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endParaRPr lang="en-US" sz="2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endParaRPr lang="en-US" sz="2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3" y="1432226"/>
            <a:ext cx="6778153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covery Meeting Nigh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CEC3B04-018D-8C70-4D58-CDA95B168427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CBADD3BD-9026-342D-8A7B-2BFA1BCB5279}"/>
              </a:ext>
            </a:extLst>
          </p:cNvPr>
          <p:cNvSpPr txBox="1">
            <a:spLocks/>
          </p:cNvSpPr>
          <p:nvPr/>
        </p:nvSpPr>
        <p:spPr>
          <a:xfrm>
            <a:off x="192972" y="570984"/>
            <a:ext cx="8602123" cy="6245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/>
              <a:t>ROOM #3: </a:t>
            </a:r>
            <a:r>
              <a:rPr lang="en-US" sz="3200"/>
              <a:t>Creating Compelling Chapter Meeting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829046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8" y="2423067"/>
            <a:ext cx="6874022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ike a Balance on time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Chorus Rehearsal w/Other Activities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or must be in alignment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gage multiple team members 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endParaRPr lang="en-US" sz="2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3" y="1432226"/>
            <a:ext cx="7177879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ing the Plan: Balanc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6287D1-A9D9-9B61-5BFC-6722118826B8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B248FAD7-56DF-526F-2BC6-23260037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2972" y="570984"/>
            <a:ext cx="8602123" cy="624506"/>
          </a:xfrm>
        </p:spPr>
        <p:txBody>
          <a:bodyPr anchor="t">
            <a:noAutofit/>
          </a:bodyPr>
          <a:lstStyle/>
          <a:p>
            <a:pPr algn="l"/>
            <a:r>
              <a:rPr lang="en-US" sz="3200" b="1" dirty="0"/>
              <a:t>ROOM #3: </a:t>
            </a:r>
            <a:r>
              <a:rPr lang="en-US" sz="3200" dirty="0"/>
              <a:t>Creating Compelling Chapter Meetings</a:t>
            </a:r>
          </a:p>
        </p:txBody>
      </p:sp>
    </p:spTree>
    <p:extLst>
      <p:ext uri="{BB962C8B-B14F-4D97-AF65-F5344CB8AC3E}">
        <p14:creationId xmlns:p14="http://schemas.microsoft.com/office/powerpoint/2010/main" val="510313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9" y="2423067"/>
            <a:ext cx="5033685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:00 Welcome &amp; Warmup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:20 Chorus Rehears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:20 Reminders / Break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:40 Activity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:45 Chorus Rehears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:25 Closing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3" y="1432226"/>
            <a:ext cx="7177879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ing the Plan: Balanc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6287D1-A9D9-9B61-5BFC-6722118826B8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ubtitle 2">
            <a:extLst>
              <a:ext uri="{FF2B5EF4-FFF2-40B4-BE49-F238E27FC236}">
                <a16:creationId xmlns:a16="http://schemas.microsoft.com/office/drawing/2014/main" id="{FDBF9A45-1817-C014-2052-6B681751FC61}"/>
              </a:ext>
            </a:extLst>
          </p:cNvPr>
          <p:cNvSpPr txBox="1">
            <a:spLocks/>
          </p:cNvSpPr>
          <p:nvPr/>
        </p:nvSpPr>
        <p:spPr>
          <a:xfrm>
            <a:off x="5632961" y="2502551"/>
            <a:ext cx="2582276" cy="109731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5875">
            <a:solidFill>
              <a:schemeClr val="tx1"/>
            </a:solidFill>
          </a:ln>
          <a:effectLst>
            <a:outerShdw blurRad="50800" dist="88900" dir="2700000" algn="tl" rotWithShape="0">
              <a:prstClr val="black">
                <a:alpha val="55000"/>
              </a:prstClr>
            </a:outerShdw>
          </a:effectLst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0m Singing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30m Non-Singing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6216895-3A8B-541E-76EA-670C5353CABF}"/>
              </a:ext>
            </a:extLst>
          </p:cNvPr>
          <p:cNvSpPr txBox="1">
            <a:spLocks/>
          </p:cNvSpPr>
          <p:nvPr/>
        </p:nvSpPr>
        <p:spPr>
          <a:xfrm>
            <a:off x="192972" y="570984"/>
            <a:ext cx="8602123" cy="6245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/>
              <a:t>ROOM #3: </a:t>
            </a:r>
            <a:r>
              <a:rPr lang="en-US" sz="3200"/>
              <a:t>Creating Compelling Chapter Meeting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770665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7" y="2423067"/>
            <a:ext cx="6099300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:00 Welcome &amp; Warmup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:20 Chorus Rehears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:20 More Chorus Rehears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:40 </a:t>
            </a:r>
            <a:r>
              <a:rPr lang="en-US" sz="28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dl</a:t>
            </a: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’ Chorus Rehears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:45 Still More Chorus Rehears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:25 Closing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3" y="1432226"/>
            <a:ext cx="7177879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ing the Plan: Balanc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6287D1-A9D9-9B61-5BFC-6722118826B8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ubtitle 2">
            <a:extLst>
              <a:ext uri="{FF2B5EF4-FFF2-40B4-BE49-F238E27FC236}">
                <a16:creationId xmlns:a16="http://schemas.microsoft.com/office/drawing/2014/main" id="{FDBF9A45-1817-C014-2052-6B681751FC61}"/>
              </a:ext>
            </a:extLst>
          </p:cNvPr>
          <p:cNvSpPr txBox="1">
            <a:spLocks/>
          </p:cNvSpPr>
          <p:nvPr/>
        </p:nvSpPr>
        <p:spPr>
          <a:xfrm>
            <a:off x="5632961" y="2502551"/>
            <a:ext cx="2582276" cy="109731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5875">
            <a:solidFill>
              <a:schemeClr val="tx1"/>
            </a:solidFill>
          </a:ln>
          <a:effectLst>
            <a:outerShdw blurRad="50800" dist="88900" dir="2700000" algn="tl" rotWithShape="0">
              <a:prstClr val="black">
                <a:alpha val="55000"/>
              </a:prstClr>
            </a:outerShdw>
          </a:effectLst>
        </p:spPr>
        <p:txBody>
          <a:bodyPr vert="horz" lIns="91440" tIns="45720" rIns="91440" bIns="45720" rtlCol="0" anchor="t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5m Singing</a:t>
            </a:r>
          </a:p>
          <a:p>
            <a:pPr algn="l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5m Non-Singing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06ADB3-3615-F3DB-67C6-DFD3CAEB02DB}"/>
              </a:ext>
            </a:extLst>
          </p:cNvPr>
          <p:cNvSpPr txBox="1">
            <a:spLocks/>
          </p:cNvSpPr>
          <p:nvPr/>
        </p:nvSpPr>
        <p:spPr>
          <a:xfrm>
            <a:off x="192972" y="570984"/>
            <a:ext cx="8602123" cy="6245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/>
              <a:t>ROOM #3: </a:t>
            </a:r>
            <a:r>
              <a:rPr lang="en-US" sz="3200"/>
              <a:t>Creating Compelling Chapter Meeting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641605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19D32F93-50AC-4C46-A5DB-291C60DDB7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5725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Leadership Academy Logo horizontal.jpg" descr="Leadership Academy Logo horizontal.jpg">
            <a:extLst>
              <a:ext uri="{FF2B5EF4-FFF2-40B4-BE49-F238E27FC236}">
                <a16:creationId xmlns:a16="http://schemas.microsoft.com/office/drawing/2014/main" id="{6F98AD2B-4933-49A0-6C89-523F464077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43" t="25901" r="67941" b="24773"/>
          <a:stretch/>
        </p:blipFill>
        <p:spPr>
          <a:xfrm>
            <a:off x="7751136" y="1414078"/>
            <a:ext cx="788405" cy="773234"/>
          </a:xfrm>
          <a:prstGeom prst="rect">
            <a:avLst/>
          </a:prstGeom>
        </p:spPr>
      </p:pic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432540" y="3359150"/>
            <a:ext cx="2468880" cy="24003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331" y="1324706"/>
            <a:ext cx="8178790" cy="420591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A937F4-34CE-4615-8755-6E96CF828DEE}"/>
              </a:ext>
            </a:extLst>
          </p:cNvPr>
          <p:cNvSpPr txBox="1">
            <a:spLocks/>
          </p:cNvSpPr>
          <p:nvPr/>
        </p:nvSpPr>
        <p:spPr>
          <a:xfrm>
            <a:off x="7134839" y="4443544"/>
            <a:ext cx="1525283" cy="1097318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2025</a:t>
            </a:r>
          </a:p>
          <a:p>
            <a:pPr algn="r" defTabSz="685800"/>
            <a:r>
              <a:rPr lang="en-US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Leadership</a:t>
            </a:r>
          </a:p>
          <a:p>
            <a:pPr algn="r" defTabSz="685800"/>
            <a:r>
              <a:rPr lang="en-US" sz="2400" b="1" dirty="0">
                <a:solidFill>
                  <a:prstClr val="black"/>
                </a:solidFill>
                <a:latin typeface="Arial Narrow" panose="020B0606020202030204" pitchFamily="34" charset="0"/>
              </a:rPr>
              <a:t>Academy</a:t>
            </a:r>
            <a:endParaRPr lang="en-US" sz="2400" b="1" dirty="0">
              <a:solidFill>
                <a:prstClr val="black"/>
              </a:solidFill>
              <a:latin typeface="Calibri Light" panose="020F0302020204030204"/>
            </a:endParaRP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F9BCB67-77C6-72DE-223F-0791A2880B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959" y="2423067"/>
            <a:ext cx="5033685" cy="2999971"/>
          </a:xfrm>
        </p:spPr>
        <p:txBody>
          <a:bodyPr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lcome &amp; Warmup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Chapter Leadership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Warmups: MT Members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Physic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Mental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SzPct val="120000"/>
            </a:pPr>
            <a:r>
              <a:rPr lang="en-US" sz="2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	Voca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767A80C-2933-B734-C78F-C8B7841E3854}"/>
              </a:ext>
            </a:extLst>
          </p:cNvPr>
          <p:cNvSpPr txBox="1">
            <a:spLocks/>
          </p:cNvSpPr>
          <p:nvPr/>
        </p:nvSpPr>
        <p:spPr>
          <a:xfrm>
            <a:off x="489103" y="1432226"/>
            <a:ext cx="7177879" cy="8600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eating the Plan: Engag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96287D1-A9D9-9B61-5BFC-6722118826B8}"/>
              </a:ext>
            </a:extLst>
          </p:cNvPr>
          <p:cNvCxnSpPr/>
          <p:nvPr/>
        </p:nvCxnSpPr>
        <p:spPr>
          <a:xfrm>
            <a:off x="344494" y="1093029"/>
            <a:ext cx="740664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B65686D5-62B2-4158-EE29-4FA154DC2C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2972" y="570984"/>
            <a:ext cx="8602123" cy="624506"/>
          </a:xfrm>
        </p:spPr>
        <p:txBody>
          <a:bodyPr anchor="t">
            <a:noAutofit/>
          </a:bodyPr>
          <a:lstStyle/>
          <a:p>
            <a:pPr algn="l"/>
            <a:r>
              <a:rPr lang="en-US" sz="3200" b="1" dirty="0"/>
              <a:t>ROOM #3: </a:t>
            </a:r>
            <a:r>
              <a:rPr lang="en-US" sz="3200" dirty="0"/>
              <a:t>Creating Compelling Chapter Meetings</a:t>
            </a:r>
          </a:p>
        </p:txBody>
      </p:sp>
    </p:spTree>
    <p:extLst>
      <p:ext uri="{BB962C8B-B14F-4D97-AF65-F5344CB8AC3E}">
        <p14:creationId xmlns:p14="http://schemas.microsoft.com/office/powerpoint/2010/main" val="1965562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cD 2.0">
  <a:themeElements>
    <a:clrScheme name="Custom 10">
      <a:dk1>
        <a:srgbClr val="000000"/>
      </a:dk1>
      <a:lt1>
        <a:srgbClr val="FFFFFF"/>
      </a:lt1>
      <a:dk2>
        <a:srgbClr val="53565A"/>
      </a:dk2>
      <a:lt2>
        <a:srgbClr val="D9D9D6"/>
      </a:lt2>
      <a:accent1>
        <a:srgbClr val="FFBC0D"/>
      </a:accent1>
      <a:accent2>
        <a:srgbClr val="DB0007"/>
      </a:accent2>
      <a:accent3>
        <a:srgbClr val="A9C23F"/>
      </a:accent3>
      <a:accent4>
        <a:srgbClr val="4C9FC8"/>
      </a:accent4>
      <a:accent5>
        <a:srgbClr val="B69A81"/>
      </a:accent5>
      <a:accent6>
        <a:srgbClr val="8A8A8D"/>
      </a:accent6>
      <a:hlink>
        <a:srgbClr val="DB0007"/>
      </a:hlink>
      <a:folHlink>
        <a:srgbClr val="8A8A8D"/>
      </a:folHlink>
    </a:clrScheme>
    <a:fontScheme name="Custom 36">
      <a:majorFont>
        <a:latin typeface="Speedee"/>
        <a:ea typeface=""/>
        <a:cs typeface=""/>
      </a:majorFont>
      <a:minorFont>
        <a:latin typeface="Speede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25400">
          <a:solidFill>
            <a:schemeClr val="accent1"/>
          </a:solidFill>
        </a:ln>
      </a:spPr>
      <a:bodyPr wrap="square" tIns="91440" bIns="91440" rtlCol="0" anchor="ctr">
        <a:noAutofit/>
      </a:bodyPr>
      <a:lstStyle>
        <a:defPPr algn="l">
          <a:lnSpc>
            <a:spcPct val="90000"/>
          </a:lnSpc>
          <a:spcBef>
            <a:spcPts val="600"/>
          </a:spcBef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25400">
          <a:noFill/>
        </a:ln>
      </a:spPr>
      <a:bodyPr wrap="none" tIns="91440" bIns="91440" rtlCol="0">
        <a:spAutoFit/>
      </a:bodyPr>
      <a:lstStyle>
        <a:defPPr algn="l">
          <a:lnSpc>
            <a:spcPct val="90000"/>
          </a:lnSpc>
          <a:spcBef>
            <a:spcPts val="60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605</TotalTime>
  <Words>535</Words>
  <Application>Microsoft Office PowerPoint</Application>
  <PresentationFormat>On-screen Show (4:3)</PresentationFormat>
  <Paragraphs>137</Paragraphs>
  <Slides>1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Arial Narrow</vt:lpstr>
      <vt:lpstr>Calibri</vt:lpstr>
      <vt:lpstr>Calibri Light</vt:lpstr>
      <vt:lpstr>Speedee</vt:lpstr>
      <vt:lpstr>Speedee Regular</vt:lpstr>
      <vt:lpstr>Symbol</vt:lpstr>
      <vt:lpstr>Tahoma</vt:lpstr>
      <vt:lpstr>1_Office Theme</vt:lpstr>
      <vt:lpstr>2_McD 2.0</vt:lpstr>
      <vt:lpstr>think-cell Slide</vt:lpstr>
      <vt:lpstr>Room #3 Creating Compelling Chapter Meetings</vt:lpstr>
      <vt:lpstr>PowerPoint Presentation</vt:lpstr>
      <vt:lpstr>ROOM #3: Creating Compelling Chapter Meetings</vt:lpstr>
      <vt:lpstr>PowerPoint Presentation</vt:lpstr>
      <vt:lpstr>PowerPoint Presentation</vt:lpstr>
      <vt:lpstr>ROOM #3: Creating Compelling Chapter Meetings</vt:lpstr>
      <vt:lpstr>PowerPoint Presentation</vt:lpstr>
      <vt:lpstr>PowerPoint Presentation</vt:lpstr>
      <vt:lpstr>ROOM #3: Creating Compelling Chapter Meetings</vt:lpstr>
      <vt:lpstr>PowerPoint Presentation</vt:lpstr>
      <vt:lpstr>PowerPoint Presentation</vt:lpstr>
      <vt:lpstr>ROOM #3: Creating Compelling Chapter Meetings</vt:lpstr>
      <vt:lpstr>ROOM #3: Creating Compelling Chapter Meeting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A Better Barbershop Show</dc:title>
  <dc:creator>Bruce Sellnow</dc:creator>
  <cp:lastModifiedBy>Bruce Sellnow</cp:lastModifiedBy>
  <cp:revision>58</cp:revision>
  <cp:lastPrinted>2015-12-12T07:15:54Z</cp:lastPrinted>
  <dcterms:created xsi:type="dcterms:W3CDTF">2015-12-09T21:19:52Z</dcterms:created>
  <dcterms:modified xsi:type="dcterms:W3CDTF">2025-01-20T15:52:03Z</dcterms:modified>
</cp:coreProperties>
</file>